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57" r:id="rId4"/>
  </p:sldMasterIdLst>
  <p:notesMasterIdLst>
    <p:notesMasterId r:id="rId25"/>
  </p:notesMasterIdLst>
  <p:sldIdLst>
    <p:sldId id="261" r:id="rId5"/>
    <p:sldId id="2147483633" r:id="rId6"/>
    <p:sldId id="2147483638" r:id="rId7"/>
    <p:sldId id="2147483181" r:id="rId8"/>
    <p:sldId id="268" r:id="rId9"/>
    <p:sldId id="256" r:id="rId10"/>
    <p:sldId id="671" r:id="rId11"/>
    <p:sldId id="2147483634" r:id="rId12"/>
    <p:sldId id="287" r:id="rId13"/>
    <p:sldId id="2147483636" r:id="rId14"/>
    <p:sldId id="2147479065" r:id="rId15"/>
    <p:sldId id="257" r:id="rId16"/>
    <p:sldId id="2147483533" r:id="rId17"/>
    <p:sldId id="2147480152" r:id="rId18"/>
    <p:sldId id="2147480156" r:id="rId19"/>
    <p:sldId id="258" r:id="rId20"/>
    <p:sldId id="2147477233" r:id="rId21"/>
    <p:sldId id="2147483637" r:id="rId22"/>
    <p:sldId id="259" r:id="rId23"/>
    <p:sldId id="390" r:id="rId24"/>
  </p:sldIdLst>
  <p:sldSz cx="12192000" cy="6858000"/>
  <p:notesSz cx="6858000" cy="9144000"/>
  <p:embeddedFontLst>
    <p:embeddedFont>
      <p:font typeface="Arial Black" panose="020B0604020202020204" pitchFamily="34" charset="0"/>
      <p:bold r:id="rId2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" id="{5F7A05E0-5345-BC49-B1CF-FF694C954007}">
          <p14:sldIdLst>
            <p14:sldId id="261"/>
            <p14:sldId id="2147483633"/>
            <p14:sldId id="2147483638"/>
            <p14:sldId id="2147483181"/>
            <p14:sldId id="268"/>
            <p14:sldId id="256"/>
            <p14:sldId id="671"/>
            <p14:sldId id="2147483634"/>
            <p14:sldId id="287"/>
            <p14:sldId id="2147483636"/>
            <p14:sldId id="2147479065"/>
            <p14:sldId id="257"/>
            <p14:sldId id="2147483533"/>
            <p14:sldId id="2147480152"/>
            <p14:sldId id="2147480156"/>
            <p14:sldId id="258"/>
            <p14:sldId id="2147477233"/>
            <p14:sldId id="2147483637"/>
            <p14:sldId id="259"/>
            <p14:sldId id="390"/>
          </p14:sldIdLst>
        </p14:section>
        <p14:section name="Product slides" id="{142749F0-8CD8-2542-9722-E0818E3AAA4A}">
          <p14:sldIdLst/>
        </p14:section>
      </p14:sectionLst>
    </p:ext>
    <p:ext uri="{EFAFB233-063F-42B5-8137-9DF3F51BA10A}">
      <p15:sldGuideLst xmlns:p15="http://schemas.microsoft.com/office/powerpoint/2012/main">
        <p15:guide id="1" pos="515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B7AC57-497C-3264-2405-A29E083028B0}" name="Iancu, Alexandra (Alexandra Stanciu)" initials="AS" userId="S::Alexandra.Stanciu@Honeywell.com::9ae197a6-b2b3-4b95-b9bd-6022ca3ae683" providerId="AD"/>
  <p188:author id="{D7CB16A6-FDF2-5339-704F-D85C7F4FF0A1}" name="Xie, Candy" initials="CX" userId="S::Tiantian.Xie@Honeywell.com::a2fd4808-2a30-43e0-9b78-5377b41e1b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5959"/>
    <a:srgbClr val="D9D9D9"/>
    <a:srgbClr val="7F7F7F"/>
    <a:srgbClr val="6D6D6D"/>
    <a:srgbClr val="DC202E"/>
    <a:srgbClr val="F0F0F0"/>
    <a:srgbClr val="DFDFD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B7F8F9-A41D-3345-9665-55BCA28B911F}" v="268" dt="2025-11-14T09:51:52.2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34"/>
    <p:restoredTop sz="94648"/>
  </p:normalViewPr>
  <p:slideViewPr>
    <p:cSldViewPr snapToGrid="0">
      <p:cViewPr>
        <p:scale>
          <a:sx n="150" d="100"/>
          <a:sy n="150" d="100"/>
        </p:scale>
        <p:origin x="-4200" y="-1248"/>
      </p:cViewPr>
      <p:guideLst>
        <p:guide pos="515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ie, Candy" userId="a2fd4808-2a30-43e0-9b78-5377b41e1b1f" providerId="ADAL" clId="{AA2A5D73-8B80-4498-9557-04641CF46D20}"/>
    <pc:docChg chg="custSel modSld">
      <pc:chgData name="Xie, Candy" userId="a2fd4808-2a30-43e0-9b78-5377b41e1b1f" providerId="ADAL" clId="{AA2A5D73-8B80-4498-9557-04641CF46D20}" dt="2025-10-31T05:04:55.584" v="216" actId="478"/>
      <pc:docMkLst>
        <pc:docMk/>
      </pc:docMkLst>
      <pc:sldChg chg="addSp modSp mod">
        <pc:chgData name="Xie, Candy" userId="a2fd4808-2a30-43e0-9b78-5377b41e1b1f" providerId="ADAL" clId="{AA2A5D73-8B80-4498-9557-04641CF46D20}" dt="2025-10-31T05:04:32.678" v="215" actId="20577"/>
        <pc:sldMkLst>
          <pc:docMk/>
          <pc:sldMk cId="2028377100" sldId="256"/>
        </pc:sldMkLst>
        <pc:spChg chg="add mod">
          <ac:chgData name="Xie, Candy" userId="a2fd4808-2a30-43e0-9b78-5377b41e1b1f" providerId="ADAL" clId="{AA2A5D73-8B80-4498-9557-04641CF46D20}" dt="2025-10-31T05:04:32.678" v="215" actId="20577"/>
          <ac:spMkLst>
            <pc:docMk/>
            <pc:sldMk cId="2028377100" sldId="256"/>
            <ac:spMk id="3" creationId="{0B3433DA-469C-FD97-91C3-5AE107F8A959}"/>
          </ac:spMkLst>
        </pc:spChg>
        <pc:spChg chg="mod">
          <ac:chgData name="Xie, Candy" userId="a2fd4808-2a30-43e0-9b78-5377b41e1b1f" providerId="ADAL" clId="{AA2A5D73-8B80-4498-9557-04641CF46D20}" dt="2025-10-30T01:01:14.118" v="49" actId="20577"/>
          <ac:spMkLst>
            <pc:docMk/>
            <pc:sldMk cId="2028377100" sldId="256"/>
            <ac:spMk id="23" creationId="{2C9EA6B9-9CC4-B6B6-BBA0-1299CE4C8D18}"/>
          </ac:spMkLst>
        </pc:spChg>
      </pc:sldChg>
      <pc:sldChg chg="modSp mod">
        <pc:chgData name="Xie, Candy" userId="a2fd4808-2a30-43e0-9b78-5377b41e1b1f" providerId="ADAL" clId="{AA2A5D73-8B80-4498-9557-04641CF46D20}" dt="2025-10-30T02:12:11.296" v="178" actId="20577"/>
        <pc:sldMkLst>
          <pc:docMk/>
          <pc:sldMk cId="3624831843" sldId="258"/>
        </pc:sldMkLst>
        <pc:spChg chg="mod">
          <ac:chgData name="Xie, Candy" userId="a2fd4808-2a30-43e0-9b78-5377b41e1b1f" providerId="ADAL" clId="{AA2A5D73-8B80-4498-9557-04641CF46D20}" dt="2025-10-30T02:12:11.296" v="178" actId="20577"/>
          <ac:spMkLst>
            <pc:docMk/>
            <pc:sldMk cId="3624831843" sldId="258"/>
            <ac:spMk id="3" creationId="{B272D92C-6B45-4D6E-91A9-17E958384280}"/>
          </ac:spMkLst>
        </pc:spChg>
      </pc:sldChg>
      <pc:sldChg chg="delSp mod">
        <pc:chgData name="Xie, Candy" userId="a2fd4808-2a30-43e0-9b78-5377b41e1b1f" providerId="ADAL" clId="{AA2A5D73-8B80-4498-9557-04641CF46D20}" dt="2025-10-31T05:04:55.584" v="216" actId="478"/>
        <pc:sldMkLst>
          <pc:docMk/>
          <pc:sldMk cId="3951871941" sldId="259"/>
        </pc:sldMkLst>
      </pc:sldChg>
    </pc:docChg>
  </pc:docChgLst>
  <pc:docChgLst>
    <pc:chgData name="Costache, Mihaela (Miha)" userId="7a5a59cf-97f5-4f36-bf8b-1dcff04d4699" providerId="ADAL" clId="{76B0D560-61E3-5EE9-8C56-6257E6E60450}"/>
    <pc:docChg chg="undo custSel addSld delSld modSld modMainMaster modSection modNotesMaster">
      <pc:chgData name="Costache, Mihaela (Miha)" userId="7a5a59cf-97f5-4f36-bf8b-1dcff04d4699" providerId="ADAL" clId="{76B0D560-61E3-5EE9-8C56-6257E6E60450}" dt="2025-11-14T09:52:47.259" v="1758" actId="20577"/>
      <pc:docMkLst>
        <pc:docMk/>
      </pc:docMkLst>
      <pc:sldChg chg="addSp 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2028377100" sldId="256"/>
        </pc:sldMkLst>
        <pc:spChg chg="mod">
          <ac:chgData name="Costache, Mihaela (Miha)" userId="7a5a59cf-97f5-4f36-bf8b-1dcff04d4699" providerId="ADAL" clId="{76B0D560-61E3-5EE9-8C56-6257E6E60450}" dt="2025-11-13T10:28:04.176" v="1360" actId="1076"/>
          <ac:spMkLst>
            <pc:docMk/>
            <pc:sldMk cId="2028377100" sldId="256"/>
            <ac:spMk id="2" creationId="{6C3895F5-A0B2-F956-9D9C-8D76BF17E324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3" creationId="{0B3433DA-469C-FD97-91C3-5AE107F8A95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5" creationId="{8BB81B1A-A561-E094-D456-FC4160BA2F51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7" creationId="{228A800E-348A-2114-C130-BC9DCD34236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17" creationId="{DA5A6DC5-999C-DEDA-1793-494ECBCE8E94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19" creationId="{AE751EF7-1703-6D69-4FF1-E6ED8001CD18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23" creationId="{2C9EA6B9-9CC4-B6B6-BBA0-1299CE4C8D18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24" creationId="{B482E10F-C64C-891D-6106-1CBEB9D5003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25" creationId="{7343C3EC-9769-64EA-1BE0-3F351BE9155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38" creationId="{881BD482-6FEA-F498-6B7F-95A7A7D48E6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028377100" sldId="256"/>
            <ac:spMk id="46" creationId="{5414F3E0-BDEA-5ABF-3B27-4F1FBEC15E0C}"/>
          </ac:spMkLst>
        </pc:spChg>
        <pc:grpChg chg="mod">
          <ac:chgData name="Costache, Mihaela (Miha)" userId="7a5a59cf-97f5-4f36-bf8b-1dcff04d4699" providerId="ADAL" clId="{76B0D560-61E3-5EE9-8C56-6257E6E60450}" dt="2025-11-13T10:29:16.439" v="1387" actId="1036"/>
          <ac:grpSpMkLst>
            <pc:docMk/>
            <pc:sldMk cId="2028377100" sldId="256"/>
            <ac:grpSpMk id="27" creationId="{57362821-5569-EE02-1572-F48B6E4BB6E0}"/>
          </ac:grpSpMkLst>
        </pc:grpChg>
        <pc:grpChg chg="mod">
          <ac:chgData name="Costache, Mihaela (Miha)" userId="7a5a59cf-97f5-4f36-bf8b-1dcff04d4699" providerId="ADAL" clId="{76B0D560-61E3-5EE9-8C56-6257E6E60450}" dt="2025-11-13T10:29:33.620" v="1406" actId="1035"/>
          <ac:grpSpMkLst>
            <pc:docMk/>
            <pc:sldMk cId="2028377100" sldId="256"/>
            <ac:grpSpMk id="39" creationId="{794D7AA5-FC74-949E-ADE6-226318E972C2}"/>
          </ac:grpSpMkLst>
        </pc:grpChg>
        <pc:grpChg chg="mod">
          <ac:chgData name="Costache, Mihaela (Miha)" userId="7a5a59cf-97f5-4f36-bf8b-1dcff04d4699" providerId="ADAL" clId="{76B0D560-61E3-5EE9-8C56-6257E6E60450}" dt="2025-11-13T10:29:29.517" v="1392" actId="1036"/>
          <ac:grpSpMkLst>
            <pc:docMk/>
            <pc:sldMk cId="2028377100" sldId="256"/>
            <ac:grpSpMk id="77" creationId="{9B2BC439-8754-DBF8-47F7-B971BAED6DA0}"/>
          </ac:grpSpMkLst>
        </pc:grpChg>
        <pc:grpChg chg="mod">
          <ac:chgData name="Costache, Mihaela (Miha)" userId="7a5a59cf-97f5-4f36-bf8b-1dcff04d4699" providerId="ADAL" clId="{76B0D560-61E3-5EE9-8C56-6257E6E60450}" dt="2025-11-13T10:29:33.620" v="1406" actId="1035"/>
          <ac:grpSpMkLst>
            <pc:docMk/>
            <pc:sldMk cId="2028377100" sldId="256"/>
            <ac:grpSpMk id="86" creationId="{DF851927-7429-2728-B863-C05D6AF759A0}"/>
          </ac:grpSpMkLst>
        </pc:grpChg>
        <pc:picChg chg="mod">
          <ac:chgData name="Costache, Mihaela (Miha)" userId="7a5a59cf-97f5-4f36-bf8b-1dcff04d4699" providerId="ADAL" clId="{76B0D560-61E3-5EE9-8C56-6257E6E60450}" dt="2025-11-13T10:29:33.620" v="1406" actId="1035"/>
          <ac:picMkLst>
            <pc:docMk/>
            <pc:sldMk cId="2028377100" sldId="256"/>
            <ac:picMk id="12" creationId="{529CAE17-4B8E-CFE4-167C-D5CD54F91228}"/>
          </ac:picMkLst>
        </pc:picChg>
        <pc:cxnChg chg="mod">
          <ac:chgData name="Costache, Mihaela (Miha)" userId="7a5a59cf-97f5-4f36-bf8b-1dcff04d4699" providerId="ADAL" clId="{76B0D560-61E3-5EE9-8C56-6257E6E60450}" dt="2025-11-13T09:39:49.197" v="1070" actId="14100"/>
          <ac:cxnSpMkLst>
            <pc:docMk/>
            <pc:sldMk cId="2028377100" sldId="256"/>
            <ac:cxnSpMk id="20" creationId="{4505A2D0-1200-B438-D798-B327589072AF}"/>
          </ac:cxnSpMkLst>
        </pc:cxnChg>
        <pc:cxnChg chg="mod">
          <ac:chgData name="Costache, Mihaela (Miha)" userId="7a5a59cf-97f5-4f36-bf8b-1dcff04d4699" providerId="ADAL" clId="{76B0D560-61E3-5EE9-8C56-6257E6E60450}" dt="2025-11-13T09:43:26.833" v="1108" actId="14100"/>
          <ac:cxnSpMkLst>
            <pc:docMk/>
            <pc:sldMk cId="2028377100" sldId="256"/>
            <ac:cxnSpMk id="29" creationId="{DCC11DC8-5E2A-6317-92E1-76AC66210167}"/>
          </ac:cxnSpMkLst>
        </pc:cxnChg>
        <pc:cxnChg chg="mod">
          <ac:chgData name="Costache, Mihaela (Miha)" userId="7a5a59cf-97f5-4f36-bf8b-1dcff04d4699" providerId="ADAL" clId="{76B0D560-61E3-5EE9-8C56-6257E6E60450}" dt="2025-11-13T10:28:40.895" v="1376" actId="1035"/>
          <ac:cxnSpMkLst>
            <pc:docMk/>
            <pc:sldMk cId="2028377100" sldId="256"/>
            <ac:cxnSpMk id="84" creationId="{C709CE7E-73DB-32E2-C5BC-4A88158BCC35}"/>
          </ac:cxnSpMkLst>
        </pc:cxnChg>
      </pc:sldChg>
      <pc:sldChg chg="addSp delSp modSp mod modNotes">
        <pc:chgData name="Costache, Mihaela (Miha)" userId="7a5a59cf-97f5-4f36-bf8b-1dcff04d4699" providerId="ADAL" clId="{76B0D560-61E3-5EE9-8C56-6257E6E60450}" dt="2025-11-14T09:49:07.602" v="1728" actId="14100"/>
        <pc:sldMkLst>
          <pc:docMk/>
          <pc:sldMk cId="3931586846" sldId="257"/>
        </pc:sldMkLst>
        <pc:spChg chg="mod">
          <ac:chgData name="Costache, Mihaela (Miha)" userId="7a5a59cf-97f5-4f36-bf8b-1dcff04d4699" providerId="ADAL" clId="{76B0D560-61E3-5EE9-8C56-6257E6E60450}" dt="2025-11-13T10:31:05.641" v="1420" actId="1076"/>
          <ac:spMkLst>
            <pc:docMk/>
            <pc:sldMk cId="3931586846" sldId="257"/>
            <ac:spMk id="2" creationId="{620C8445-27D3-66E0-A407-AA8B039B54C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17" creationId="{98EFB230-4526-9017-44BB-D70299B404C8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18" creationId="{CFA87AC9-0F64-29F8-D40F-7ACEF4A3DE8C}"/>
          </ac:spMkLst>
        </pc:spChg>
        <pc:spChg chg="mod">
          <ac:chgData name="Costache, Mihaela (Miha)" userId="7a5a59cf-97f5-4f36-bf8b-1dcff04d4699" providerId="ADAL" clId="{76B0D560-61E3-5EE9-8C56-6257E6E60450}" dt="2025-11-13T10:31:40.965" v="1430" actId="1076"/>
          <ac:spMkLst>
            <pc:docMk/>
            <pc:sldMk cId="3931586846" sldId="257"/>
            <ac:spMk id="19" creationId="{1ABB4A8B-72C7-6EFE-55F3-3C18DFB4FE8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20" creationId="{360A0CDF-E23F-B5EE-1EC2-03BEBBE0653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33" creationId="{5ED49DD0-3362-3A05-F462-ACB48855C8E1}"/>
          </ac:spMkLst>
        </pc:spChg>
        <pc:spChg chg="mod">
          <ac:chgData name="Costache, Mihaela (Miha)" userId="7a5a59cf-97f5-4f36-bf8b-1dcff04d4699" providerId="ADAL" clId="{76B0D560-61E3-5EE9-8C56-6257E6E60450}" dt="2025-11-13T10:31:24.118" v="1427" actId="1036"/>
          <ac:spMkLst>
            <pc:docMk/>
            <pc:sldMk cId="3931586846" sldId="257"/>
            <ac:spMk id="34" creationId="{7F5F0198-F5E9-5232-43EB-DB18B13C9B4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35" creationId="{5FF2C2EF-7FF9-AE99-E788-356C84AC5718}"/>
          </ac:spMkLst>
        </pc:spChg>
        <pc:spChg chg="mod">
          <ac:chgData name="Costache, Mihaela (Miha)" userId="7a5a59cf-97f5-4f36-bf8b-1dcff04d4699" providerId="ADAL" clId="{76B0D560-61E3-5EE9-8C56-6257E6E60450}" dt="2025-11-13T10:31:24.118" v="1427" actId="1036"/>
          <ac:spMkLst>
            <pc:docMk/>
            <pc:sldMk cId="3931586846" sldId="257"/>
            <ac:spMk id="36" creationId="{22DCFA80-37F0-A4A1-2E6B-5C3BA99BD96B}"/>
          </ac:spMkLst>
        </pc:spChg>
        <pc:spChg chg="mod">
          <ac:chgData name="Costache, Mihaela (Miha)" userId="7a5a59cf-97f5-4f36-bf8b-1dcff04d4699" providerId="ADAL" clId="{76B0D560-61E3-5EE9-8C56-6257E6E60450}" dt="2025-11-13T10:31:24.118" v="1427" actId="1036"/>
          <ac:spMkLst>
            <pc:docMk/>
            <pc:sldMk cId="3931586846" sldId="257"/>
            <ac:spMk id="42" creationId="{05C40927-AF7A-5E46-4D67-88CA4F69DAB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44" creationId="{A07AED6F-6C26-8D99-76D6-9DE35FC2504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46" creationId="{A0426D87-8B41-86F7-9545-A637F434B0EA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49" creationId="{97C162D8-F4B9-6D95-7A7D-6239051300A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55" creationId="{930BD492-5B14-13B9-9376-ADC4A2FD31C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31586846" sldId="257"/>
            <ac:spMk id="57" creationId="{AE0E5675-0072-34C9-6286-E6F82892BDFB}"/>
          </ac:spMkLst>
        </pc:spChg>
        <pc:picChg chg="add mod">
          <ac:chgData name="Costache, Mihaela (Miha)" userId="7a5a59cf-97f5-4f36-bf8b-1dcff04d4699" providerId="ADAL" clId="{76B0D560-61E3-5EE9-8C56-6257E6E60450}" dt="2025-11-14T09:49:07.602" v="1728" actId="14100"/>
          <ac:picMkLst>
            <pc:docMk/>
            <pc:sldMk cId="3931586846" sldId="257"/>
            <ac:picMk id="3" creationId="{4B3E24BF-3C3A-D7F0-AFFA-91925951E45E}"/>
          </ac:picMkLst>
        </pc:picChg>
        <pc:picChg chg="mod">
          <ac:chgData name="Costache, Mihaela (Miha)" userId="7a5a59cf-97f5-4f36-bf8b-1dcff04d4699" providerId="ADAL" clId="{76B0D560-61E3-5EE9-8C56-6257E6E60450}" dt="2025-11-13T10:31:40.965" v="1430" actId="1076"/>
          <ac:picMkLst>
            <pc:docMk/>
            <pc:sldMk cId="3931586846" sldId="257"/>
            <ac:picMk id="21" creationId="{2BEA48A8-9FFC-1EA8-A94B-15EBD2970DB4}"/>
          </ac:picMkLst>
        </pc:picChg>
        <pc:picChg chg="mod">
          <ac:chgData name="Costache, Mihaela (Miha)" userId="7a5a59cf-97f5-4f36-bf8b-1dcff04d4699" providerId="ADAL" clId="{76B0D560-61E3-5EE9-8C56-6257E6E60450}" dt="2025-11-13T10:31:40.965" v="1430" actId="1076"/>
          <ac:picMkLst>
            <pc:docMk/>
            <pc:sldMk cId="3931586846" sldId="257"/>
            <ac:picMk id="22" creationId="{AB96A438-F358-67F9-B38E-DF751B599F4D}"/>
          </ac:picMkLst>
        </pc:picChg>
        <pc:picChg chg="mod">
          <ac:chgData name="Costache, Mihaela (Miha)" userId="7a5a59cf-97f5-4f36-bf8b-1dcff04d4699" providerId="ADAL" clId="{76B0D560-61E3-5EE9-8C56-6257E6E60450}" dt="2025-11-13T10:31:40.965" v="1430" actId="1076"/>
          <ac:picMkLst>
            <pc:docMk/>
            <pc:sldMk cId="3931586846" sldId="257"/>
            <ac:picMk id="23" creationId="{8FA94944-B0E7-8997-258F-37435A0CFD32}"/>
          </ac:picMkLst>
        </pc:picChg>
        <pc:picChg chg="mod">
          <ac:chgData name="Costache, Mihaela (Miha)" userId="7a5a59cf-97f5-4f36-bf8b-1dcff04d4699" providerId="ADAL" clId="{76B0D560-61E3-5EE9-8C56-6257E6E60450}" dt="2025-11-13T10:31:40.965" v="1430" actId="1076"/>
          <ac:picMkLst>
            <pc:docMk/>
            <pc:sldMk cId="3931586846" sldId="257"/>
            <ac:picMk id="24" creationId="{6C25A4BF-F5F4-8346-C73B-C2963638A692}"/>
          </ac:picMkLst>
        </pc:picChg>
        <pc:picChg chg="mod">
          <ac:chgData name="Costache, Mihaela (Miha)" userId="7a5a59cf-97f5-4f36-bf8b-1dcff04d4699" providerId="ADAL" clId="{76B0D560-61E3-5EE9-8C56-6257E6E60450}" dt="2025-11-13T10:31:24.118" v="1427" actId="1036"/>
          <ac:picMkLst>
            <pc:docMk/>
            <pc:sldMk cId="3931586846" sldId="257"/>
            <ac:picMk id="25" creationId="{7AF71CA2-0EE5-63BD-FB63-3583229857C8}"/>
          </ac:picMkLst>
        </pc:picChg>
        <pc:picChg chg="mod">
          <ac:chgData name="Costache, Mihaela (Miha)" userId="7a5a59cf-97f5-4f36-bf8b-1dcff04d4699" providerId="ADAL" clId="{76B0D560-61E3-5EE9-8C56-6257E6E60450}" dt="2025-11-14T09:49:01.654" v="1727" actId="555"/>
          <ac:picMkLst>
            <pc:docMk/>
            <pc:sldMk cId="3931586846" sldId="257"/>
            <ac:picMk id="37" creationId="{89D158FD-AC40-748F-4817-07575006D626}"/>
          </ac:picMkLst>
        </pc:picChg>
        <pc:picChg chg="mod">
          <ac:chgData name="Costache, Mihaela (Miha)" userId="7a5a59cf-97f5-4f36-bf8b-1dcff04d4699" providerId="ADAL" clId="{76B0D560-61E3-5EE9-8C56-6257E6E60450}" dt="2025-11-13T10:31:09.742" v="1421" actId="14100"/>
          <ac:picMkLst>
            <pc:docMk/>
            <pc:sldMk cId="3931586846" sldId="257"/>
            <ac:picMk id="48" creationId="{DDF1DBA6-AA5B-F07D-EED3-5C991B0B785F}"/>
          </ac:picMkLst>
        </pc:picChg>
        <pc:picChg chg="del mod">
          <ac:chgData name="Costache, Mihaela (Miha)" userId="7a5a59cf-97f5-4f36-bf8b-1dcff04d4699" providerId="ADAL" clId="{76B0D560-61E3-5EE9-8C56-6257E6E60450}" dt="2025-11-14T09:48:49.282" v="1722" actId="478"/>
          <ac:picMkLst>
            <pc:docMk/>
            <pc:sldMk cId="3931586846" sldId="257"/>
            <ac:picMk id="56" creationId="{AB3B19FB-9D66-12DB-1777-5AE75ED62664}"/>
          </ac:picMkLst>
        </pc:picChg>
        <pc:picChg chg="mod">
          <ac:chgData name="Costache, Mihaela (Miha)" userId="7a5a59cf-97f5-4f36-bf8b-1dcff04d4699" providerId="ADAL" clId="{76B0D560-61E3-5EE9-8C56-6257E6E60450}" dt="2025-11-13T10:31:24.118" v="1427" actId="1036"/>
          <ac:picMkLst>
            <pc:docMk/>
            <pc:sldMk cId="3931586846" sldId="257"/>
            <ac:picMk id="1031" creationId="{B81340E8-2A38-02EB-0710-1897F3877D6C}"/>
          </ac:picMkLst>
        </pc:picChg>
      </pc:sldChg>
      <pc:sldChg chg="modSp mod">
        <pc:chgData name="Costache, Mihaela (Miha)" userId="7a5a59cf-97f5-4f36-bf8b-1dcff04d4699" providerId="ADAL" clId="{76B0D560-61E3-5EE9-8C56-6257E6E60450}" dt="2025-11-14T09:52:47.259" v="1758" actId="20577"/>
        <pc:sldMkLst>
          <pc:docMk/>
          <pc:sldMk cId="3624831843" sldId="258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3" creationId="{B272D92C-6B45-4D6E-91A9-17E95838428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4" creationId="{E592E36D-D18E-B37C-E2E8-DF66AA7613B2}"/>
          </ac:spMkLst>
        </pc:spChg>
        <pc:spChg chg="mod">
          <ac:chgData name="Costache, Mihaela (Miha)" userId="7a5a59cf-97f5-4f36-bf8b-1dcff04d4699" providerId="ADAL" clId="{76B0D560-61E3-5EE9-8C56-6257E6E60450}" dt="2025-11-13T10:34:34.419" v="1463" actId="1076"/>
          <ac:spMkLst>
            <pc:docMk/>
            <pc:sldMk cId="3624831843" sldId="258"/>
            <ac:spMk id="5" creationId="{7E829CE2-8892-6479-7E4D-727E81A666D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6" creationId="{C497A42F-6BEA-4168-9A3B-12DE0173FB1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8" creationId="{507D73D4-3DF8-450D-8FE5-DD47DBA27F74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9" creationId="{7D8D0142-1F90-4531-92B2-2D6F079F0698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10" creationId="{91E75261-67E6-49AC-B571-3B12AAF8ABC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11" creationId="{E23825C4-11AD-4365-8FF7-566C67306F1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12" creationId="{211ED986-F260-47E2-A69B-5043BDC418AE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624831843" sldId="258"/>
            <ac:spMk id="13" creationId="{63C327D4-353A-4C02-A751-47D6F02FB520}"/>
          </ac:spMkLst>
        </pc:spChg>
        <pc:spChg chg="mod">
          <ac:chgData name="Costache, Mihaela (Miha)" userId="7a5a59cf-97f5-4f36-bf8b-1dcff04d4699" providerId="ADAL" clId="{76B0D560-61E3-5EE9-8C56-6257E6E60450}" dt="2025-11-14T09:52:47.259" v="1758" actId="20577"/>
          <ac:spMkLst>
            <pc:docMk/>
            <pc:sldMk cId="3624831843" sldId="258"/>
            <ac:spMk id="22" creationId="{36B330AE-E965-4A3A-A8C8-81AA9B47684D}"/>
          </ac:spMkLst>
        </pc:spChg>
        <pc:cxnChg chg="mod">
          <ac:chgData name="Costache, Mihaela (Miha)" userId="7a5a59cf-97f5-4f36-bf8b-1dcff04d4699" providerId="ADAL" clId="{76B0D560-61E3-5EE9-8C56-6257E6E60450}" dt="2025-11-13T10:34:31.257" v="1462" actId="1076"/>
          <ac:cxnSpMkLst>
            <pc:docMk/>
            <pc:sldMk cId="3624831843" sldId="258"/>
            <ac:cxnSpMk id="20" creationId="{5A222AD6-DF06-509D-632B-380F8D5F8FF4}"/>
          </ac:cxnSpMkLst>
        </pc:cxnChg>
      </pc:sldChg>
      <pc:sldChg chg="addSp delSp modSp mod addAnim delAnim modNotes">
        <pc:chgData name="Costache, Mihaela (Miha)" userId="7a5a59cf-97f5-4f36-bf8b-1dcff04d4699" providerId="ADAL" clId="{76B0D560-61E3-5EE9-8C56-6257E6E60450}" dt="2025-11-14T09:52:16.446" v="1755" actId="1076"/>
        <pc:sldMkLst>
          <pc:docMk/>
          <pc:sldMk cId="3951871941" sldId="259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51871941" sldId="259"/>
            <ac:spMk id="6" creationId="{2CC02282-E556-FE7F-5157-C10DB49E116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51871941" sldId="259"/>
            <ac:spMk id="12" creationId="{A9C3A613-DD5B-C2D1-CCF6-7C9F390D0AD8}"/>
          </ac:spMkLst>
        </pc:spChg>
        <pc:spChg chg="mod">
          <ac:chgData name="Costache, Mihaela (Miha)" userId="7a5a59cf-97f5-4f36-bf8b-1dcff04d4699" providerId="ADAL" clId="{76B0D560-61E3-5EE9-8C56-6257E6E60450}" dt="2025-11-13T10:36:01.714" v="1490" actId="1036"/>
          <ac:spMkLst>
            <pc:docMk/>
            <pc:sldMk cId="3951871941" sldId="259"/>
            <ac:spMk id="13" creationId="{FBA2724B-99EF-5D68-5718-77F07D93CEE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51871941" sldId="259"/>
            <ac:spMk id="15" creationId="{6C5B3846-BEB2-C14C-92FD-0A0572F07B5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51871941" sldId="259"/>
            <ac:spMk id="17" creationId="{2B1B52B3-4688-173D-5584-7E89F2F5EB7A}"/>
          </ac:spMkLst>
        </pc:spChg>
        <pc:spChg chg="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19" creationId="{07741BE0-7D45-2A43-A23C-DDF4CADEE940}"/>
          </ac:spMkLst>
        </pc:spChg>
        <pc:spChg chg="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20" creationId="{B94425AF-FB22-BE2A-8E73-8613544048C0}"/>
          </ac:spMkLst>
        </pc:spChg>
        <pc:spChg chg="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21" creationId="{3B8AC284-CCA0-C29D-2C0B-7ED5A98CBA3F}"/>
          </ac:spMkLst>
        </pc:spChg>
        <pc:spChg chg="add del 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22" creationId="{D08CA761-1AD9-702F-7A82-54D4C7F815DE}"/>
          </ac:spMkLst>
        </pc:spChg>
        <pc:spChg chg="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23" creationId="{3D96EBAF-6399-D605-B7F3-F72CF70D78CF}"/>
          </ac:spMkLst>
        </pc:spChg>
        <pc:spChg chg="mod">
          <ac:chgData name="Costache, Mihaela (Miha)" userId="7a5a59cf-97f5-4f36-bf8b-1dcff04d4699" providerId="ADAL" clId="{76B0D560-61E3-5EE9-8C56-6257E6E60450}" dt="2025-11-14T09:52:03.760" v="1753" actId="1035"/>
          <ac:spMkLst>
            <pc:docMk/>
            <pc:sldMk cId="3951871941" sldId="259"/>
            <ac:spMk id="24" creationId="{99C8249D-BBE1-6EB2-9341-A27E6EA5028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951871941" sldId="259"/>
            <ac:spMk id="28" creationId="{FF07D3D4-05D5-084C-B484-B95A1C43F1BF}"/>
          </ac:spMkLst>
        </pc:spChg>
        <pc:spChg chg="mod">
          <ac:chgData name="Costache, Mihaela (Miha)" userId="7a5a59cf-97f5-4f36-bf8b-1dcff04d4699" providerId="ADAL" clId="{76B0D560-61E3-5EE9-8C56-6257E6E60450}" dt="2025-11-14T09:52:16.446" v="1755" actId="1076"/>
          <ac:spMkLst>
            <pc:docMk/>
            <pc:sldMk cId="3951871941" sldId="259"/>
            <ac:spMk id="31" creationId="{FEDA99A4-C245-F96E-4040-DCED24BABAA0}"/>
          </ac:spMkLst>
        </pc:spChg>
        <pc:grpChg chg="mod">
          <ac:chgData name="Costache, Mihaela (Miha)" userId="7a5a59cf-97f5-4f36-bf8b-1dcff04d4699" providerId="ADAL" clId="{76B0D560-61E3-5EE9-8C56-6257E6E60450}" dt="2025-11-13T10:36:17.351" v="1496" actId="1035"/>
          <ac:grpSpMkLst>
            <pc:docMk/>
            <pc:sldMk cId="3951871941" sldId="259"/>
            <ac:grpSpMk id="25" creationId="{E0D6C1DA-5EBE-E15B-FD34-D5C0B03B0F1E}"/>
          </ac:grpSpMkLst>
        </pc:grpChg>
        <pc:grpChg chg="mod">
          <ac:chgData name="Costache, Mihaela (Miha)" userId="7a5a59cf-97f5-4f36-bf8b-1dcff04d4699" providerId="ADAL" clId="{76B0D560-61E3-5EE9-8C56-6257E6E60450}" dt="2025-11-13T10:36:17.351" v="1496" actId="1035"/>
          <ac:grpSpMkLst>
            <pc:docMk/>
            <pc:sldMk cId="3951871941" sldId="259"/>
            <ac:grpSpMk id="29" creationId="{B0FC887B-7D9F-F5C4-C1BA-65F0DBA1A65F}"/>
          </ac:grpSpMkLst>
        </pc:grpChg>
        <pc:picChg chg="mod">
          <ac:chgData name="Costache, Mihaela (Miha)" userId="7a5a59cf-97f5-4f36-bf8b-1dcff04d4699" providerId="ADAL" clId="{76B0D560-61E3-5EE9-8C56-6257E6E60450}" dt="2025-11-14T09:52:16.446" v="1755" actId="1076"/>
          <ac:picMkLst>
            <pc:docMk/>
            <pc:sldMk cId="3951871941" sldId="259"/>
            <ac:picMk id="30" creationId="{844CD3D9-7F6D-7B08-5A43-745A4D30EB26}"/>
          </ac:picMkLst>
        </pc:picChg>
        <pc:picChg chg="add del">
          <ac:chgData name="Costache, Mihaela (Miha)" userId="7a5a59cf-97f5-4f36-bf8b-1dcff04d4699" providerId="ADAL" clId="{76B0D560-61E3-5EE9-8C56-6257E6E60450}" dt="2025-11-14T09:51:30.451" v="1739" actId="478"/>
          <ac:picMkLst>
            <pc:docMk/>
            <pc:sldMk cId="3951871941" sldId="259"/>
            <ac:picMk id="35" creationId="{0FBD750F-CB33-4573-4D4A-8C029DCC2F74}"/>
          </ac:picMkLst>
        </pc:picChg>
      </pc:sldChg>
      <pc:sldChg chg="modSp mod">
        <pc:chgData name="Costache, Mihaela (Miha)" userId="7a5a59cf-97f5-4f36-bf8b-1dcff04d4699" providerId="ADAL" clId="{76B0D560-61E3-5EE9-8C56-6257E6E60450}" dt="2025-11-13T10:40:08.609" v="1504"/>
        <pc:sldMkLst>
          <pc:docMk/>
          <pc:sldMk cId="0" sldId="261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0" sldId="261"/>
            <ac:spMk id="3" creationId="{DD4F69EC-A720-476D-897B-F82107649250}"/>
          </ac:spMkLst>
        </pc:spChg>
        <pc:picChg chg="mod">
          <ac:chgData name="Costache, Mihaela (Miha)" userId="7a5a59cf-97f5-4f36-bf8b-1dcff04d4699" providerId="ADAL" clId="{76B0D560-61E3-5EE9-8C56-6257E6E60450}" dt="2025-11-13T08:22:57.519" v="768" actId="14861"/>
          <ac:picMkLst>
            <pc:docMk/>
            <pc:sldMk cId="0" sldId="261"/>
            <ac:picMk id="6" creationId="{FAFB182F-1962-B746-6D3F-C70EBF138D35}"/>
          </ac:picMkLst>
        </pc:picChg>
      </pc:sldChg>
      <pc:sldChg chg="addSp delSp modSp mod delAnim modNotes">
        <pc:chgData name="Costache, Mihaela (Miha)" userId="7a5a59cf-97f5-4f36-bf8b-1dcff04d4699" providerId="ADAL" clId="{76B0D560-61E3-5EE9-8C56-6257E6E60450}" dt="2025-11-14T09:48:25.359" v="1693" actId="1037"/>
        <pc:sldMkLst>
          <pc:docMk/>
          <pc:sldMk cId="1565707527" sldId="268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2" creationId="{A011BA15-C212-3757-F669-AE8A23BA836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3" creationId="{7AF24BFD-171E-FD21-CA84-225235A1AF55}"/>
          </ac:spMkLst>
        </pc:spChg>
        <pc:spChg chg="mod">
          <ac:chgData name="Costache, Mihaela (Miha)" userId="7a5a59cf-97f5-4f36-bf8b-1dcff04d4699" providerId="ADAL" clId="{76B0D560-61E3-5EE9-8C56-6257E6E60450}" dt="2025-11-13T10:27:47.103" v="1358" actId="1035"/>
          <ac:spMkLst>
            <pc:docMk/>
            <pc:sldMk cId="1565707527" sldId="268"/>
            <ac:spMk id="4" creationId="{AC18EBCD-985A-6BD1-2C73-9B560A27E5D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5" creationId="{D7A71C7D-D2F9-FAE7-0F34-3D33CF1951B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7" creationId="{08019F16-6ADC-4EB8-1406-0CDFB60ABF5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11" creationId="{72E9C9FB-951A-9D2B-391A-BCC408E46AB0}"/>
          </ac:spMkLst>
        </pc:spChg>
        <pc:spChg chg="mod">
          <ac:chgData name="Costache, Mihaela (Miha)" userId="7a5a59cf-97f5-4f36-bf8b-1dcff04d4699" providerId="ADAL" clId="{76B0D560-61E3-5EE9-8C56-6257E6E60450}" dt="2025-11-13T10:27:47.103" v="1358" actId="1035"/>
          <ac:spMkLst>
            <pc:docMk/>
            <pc:sldMk cId="1565707527" sldId="268"/>
            <ac:spMk id="12" creationId="{EE3D1E92-1900-67B8-1F8D-2D21A41B641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18" creationId="{02478A91-8262-7015-D28D-225E6CFDE27A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19" creationId="{765AA908-694F-1B07-CE69-D019A2DB76D3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20" creationId="{2C151446-449D-63DD-7826-995A40994978}"/>
          </ac:spMkLst>
        </pc:spChg>
        <pc:spChg chg="mod">
          <ac:chgData name="Costache, Mihaela (Miha)" userId="7a5a59cf-97f5-4f36-bf8b-1dcff04d4699" providerId="ADAL" clId="{76B0D560-61E3-5EE9-8C56-6257E6E60450}" dt="2025-11-13T10:27:47.103" v="1358" actId="1035"/>
          <ac:spMkLst>
            <pc:docMk/>
            <pc:sldMk cId="1565707527" sldId="268"/>
            <ac:spMk id="23" creationId="{DA126C55-F258-6F14-E956-4D81CEA972A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29" creationId="{FB29AFDD-3A2B-8DD7-D506-A96E5930685B}"/>
          </ac:spMkLst>
        </pc:spChg>
        <pc:spChg chg="mod">
          <ac:chgData name="Costache, Mihaela (Miha)" userId="7a5a59cf-97f5-4f36-bf8b-1dcff04d4699" providerId="ADAL" clId="{76B0D560-61E3-5EE9-8C56-6257E6E60450}" dt="2025-11-13T10:39:16.618" v="1499"/>
          <ac:spMkLst>
            <pc:docMk/>
            <pc:sldMk cId="1565707527" sldId="268"/>
            <ac:spMk id="30" creationId="{DAB6ED70-96BF-E927-66C4-32539692194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565707527" sldId="268"/>
            <ac:spMk id="31" creationId="{EE53BA97-F2CD-D44D-A279-E29805072179}"/>
          </ac:spMkLst>
        </pc:spChg>
        <pc:picChg chg="add del mod">
          <ac:chgData name="Costache, Mihaela (Miha)" userId="7a5a59cf-97f5-4f36-bf8b-1dcff04d4699" providerId="ADAL" clId="{76B0D560-61E3-5EE9-8C56-6257E6E60450}" dt="2025-11-14T09:46:28.366" v="1642" actId="478"/>
          <ac:picMkLst>
            <pc:docMk/>
            <pc:sldMk cId="1565707527" sldId="268"/>
            <ac:picMk id="6" creationId="{017E7780-F2D7-F579-5EDC-6F6977184EC6}"/>
          </ac:picMkLst>
        </pc:picChg>
        <pc:picChg chg="add del mod">
          <ac:chgData name="Costache, Mihaela (Miha)" userId="7a5a59cf-97f5-4f36-bf8b-1dcff04d4699" providerId="ADAL" clId="{76B0D560-61E3-5EE9-8C56-6257E6E60450}" dt="2025-11-14T09:47:10.451" v="1680" actId="478"/>
          <ac:picMkLst>
            <pc:docMk/>
            <pc:sldMk cId="1565707527" sldId="268"/>
            <ac:picMk id="10" creationId="{6275F1A4-F575-6029-34A0-96C398076CAF}"/>
          </ac:picMkLst>
        </pc:picChg>
        <pc:picChg chg="add mod">
          <ac:chgData name="Costache, Mihaela (Miha)" userId="7a5a59cf-97f5-4f36-bf8b-1dcff04d4699" providerId="ADAL" clId="{76B0D560-61E3-5EE9-8C56-6257E6E60450}" dt="2025-11-14T09:48:25.359" v="1693" actId="1037"/>
          <ac:picMkLst>
            <pc:docMk/>
            <pc:sldMk cId="1565707527" sldId="268"/>
            <ac:picMk id="13" creationId="{C6DB8ABE-C15B-5790-1596-0AC7988F3131}"/>
          </ac:picMkLst>
        </pc:picChg>
        <pc:picChg chg="del">
          <ac:chgData name="Costache, Mihaela (Miha)" userId="7a5a59cf-97f5-4f36-bf8b-1dcff04d4699" providerId="ADAL" clId="{76B0D560-61E3-5EE9-8C56-6257E6E60450}" dt="2025-11-14T09:37:01.879" v="1509" actId="478"/>
          <ac:picMkLst>
            <pc:docMk/>
            <pc:sldMk cId="1565707527" sldId="268"/>
            <ac:picMk id="22" creationId="{22745547-980C-08F4-530E-25023E4E62C3}"/>
          </ac:picMkLst>
        </pc:picChg>
      </pc:sldChg>
      <pc:sldChg chg="modSp mod">
        <pc:chgData name="Costache, Mihaela (Miha)" userId="7a5a59cf-97f5-4f36-bf8b-1dcff04d4699" providerId="ADAL" clId="{76B0D560-61E3-5EE9-8C56-6257E6E60450}" dt="2025-11-13T10:40:08.609" v="1504"/>
        <pc:sldMkLst>
          <pc:docMk/>
          <pc:sldMk cId="3780847342" sldId="287"/>
        </pc:sldMkLst>
        <pc:spChg chg="mod">
          <ac:chgData name="Costache, Mihaela (Miha)" userId="7a5a59cf-97f5-4f36-bf8b-1dcff04d4699" providerId="ADAL" clId="{76B0D560-61E3-5EE9-8C56-6257E6E60450}" dt="2025-11-13T10:30:10.458" v="1411" actId="1076"/>
          <ac:spMkLst>
            <pc:docMk/>
            <pc:sldMk cId="3780847342" sldId="287"/>
            <ac:spMk id="2" creationId="{7AF2AEE7-7D53-7A8F-50A7-085555685E1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780847342" sldId="287"/>
            <ac:spMk id="3" creationId="{BE6BA01A-AC95-897A-6E57-1DC129A04D9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780847342" sldId="287"/>
            <ac:spMk id="5" creationId="{D2B425B3-6392-1CCF-D714-82F88E4FB77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780847342" sldId="287"/>
            <ac:spMk id="10" creationId="{0E789AC0-2FA7-30FB-5BA1-3E35C1BDA9F4}"/>
          </ac:spMkLst>
        </pc:spChg>
        <pc:picChg chg="mod">
          <ac:chgData name="Costache, Mihaela (Miha)" userId="7a5a59cf-97f5-4f36-bf8b-1dcff04d4699" providerId="ADAL" clId="{76B0D560-61E3-5EE9-8C56-6257E6E60450}" dt="2025-11-13T10:30:22.091" v="1413" actId="14100"/>
          <ac:picMkLst>
            <pc:docMk/>
            <pc:sldMk cId="3780847342" sldId="287"/>
            <ac:picMk id="8" creationId="{BEFCC4B0-F128-64DF-A2C6-EC46DCF00A75}"/>
          </ac:picMkLst>
        </pc:picChg>
        <pc:picChg chg="mod">
          <ac:chgData name="Costache, Mihaela (Miha)" userId="7a5a59cf-97f5-4f36-bf8b-1dcff04d4699" providerId="ADAL" clId="{76B0D560-61E3-5EE9-8C56-6257E6E60450}" dt="2025-11-13T10:30:24.410" v="1414" actId="1076"/>
          <ac:picMkLst>
            <pc:docMk/>
            <pc:sldMk cId="3780847342" sldId="287"/>
            <ac:picMk id="12" creationId="{CF76A3DE-1AB3-9FA9-F61A-A4EA09071A03}"/>
          </ac:picMkLst>
        </pc:picChg>
      </pc:sldChg>
      <pc:sldChg chg="addSp 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1166070873" sldId="671"/>
        </pc:sldMkLst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9" creationId="{FE9B0649-7220-D106-D1B0-0CDA7DF2CA01}"/>
          </ac:spMkLst>
        </pc:spChg>
        <pc:spChg chg="mod">
          <ac:chgData name="Costache, Mihaela (Miha)" userId="7a5a59cf-97f5-4f36-bf8b-1dcff04d4699" providerId="ADAL" clId="{76B0D560-61E3-5EE9-8C56-6257E6E60450}" dt="2025-11-13T10:38:58.462" v="1498"/>
          <ac:spMkLst>
            <pc:docMk/>
            <pc:sldMk cId="1166070873" sldId="671"/>
            <ac:spMk id="14" creationId="{9F8A73C5-5CD4-A1FC-98E7-C3C8B7E3A7D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19" creationId="{13C482F2-1EEA-ACB0-1321-493EBB3A801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24" creationId="{D4CE93B4-E94E-D6BD-51A2-F5DE56117B0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29" creationId="{4A30AA62-A272-946F-694C-D03333872B33}"/>
          </ac:spMkLst>
        </pc:spChg>
        <pc:spChg chg="mod">
          <ac:chgData name="Costache, Mihaela (Miha)" userId="7a5a59cf-97f5-4f36-bf8b-1dcff04d4699" providerId="ADAL" clId="{76B0D560-61E3-5EE9-8C56-6257E6E60450}" dt="2025-11-13T10:29:56.176" v="1409" actId="1036"/>
          <ac:spMkLst>
            <pc:docMk/>
            <pc:sldMk cId="1166070873" sldId="671"/>
            <ac:spMk id="39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42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47" creationId="{8ACA8436-832F-6B74-2803-1C5596B3A146}"/>
          </ac:spMkLst>
        </pc:spChg>
        <pc:spChg chg="mod">
          <ac:chgData name="Costache, Mihaela (Miha)" userId="7a5a59cf-97f5-4f36-bf8b-1dcff04d4699" providerId="ADAL" clId="{76B0D560-61E3-5EE9-8C56-6257E6E60450}" dt="2025-11-13T09:38:16.313" v="1060" actId="164"/>
          <ac:spMkLst>
            <pc:docMk/>
            <pc:sldMk cId="1166070873" sldId="671"/>
            <ac:spMk id="50" creationId="{132A4057-1808-FAF2-F584-9EB773D6F033}"/>
          </ac:spMkLst>
        </pc:spChg>
        <pc:spChg chg="mod">
          <ac:chgData name="Costache, Mihaela (Miha)" userId="7a5a59cf-97f5-4f36-bf8b-1dcff04d4699" providerId="ADAL" clId="{76B0D560-61E3-5EE9-8C56-6257E6E60450}" dt="2025-11-13T10:29:53.072" v="1408" actId="1076"/>
          <ac:spMkLst>
            <pc:docMk/>
            <pc:sldMk cId="1166070873" sldId="671"/>
            <ac:spMk id="88" creationId="{BB9C3BB2-F7A8-2184-60B9-AB44F974956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108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109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110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166070873" sldId="671"/>
            <ac:spMk id="111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09:36:24.324" v="1043" actId="207"/>
          <ac:spMkLst>
            <pc:docMk/>
            <pc:sldMk cId="1166070873" sldId="671"/>
            <ac:spMk id="112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09:37:02.767" v="1049" actId="255"/>
          <ac:spMkLst>
            <pc:docMk/>
            <pc:sldMk cId="1166070873" sldId="671"/>
            <ac:spMk id="113" creationId="{00000000-0000-0000-0000-000000000000}"/>
          </ac:spMkLst>
        </pc:spChg>
        <pc:grpChg chg="add mod">
          <ac:chgData name="Costache, Mihaela (Miha)" userId="7a5a59cf-97f5-4f36-bf8b-1dcff04d4699" providerId="ADAL" clId="{76B0D560-61E3-5EE9-8C56-6257E6E60450}" dt="2025-11-13T09:36:57.219" v="1048" actId="1076"/>
          <ac:grpSpMkLst>
            <pc:docMk/>
            <pc:sldMk cId="1166070873" sldId="671"/>
            <ac:grpSpMk id="7" creationId="{F8804738-D84C-2FD7-4E08-1350CAAF4BBD}"/>
          </ac:grpSpMkLst>
        </pc:grpChg>
        <pc:grpChg chg="add mod">
          <ac:chgData name="Costache, Mihaela (Miha)" userId="7a5a59cf-97f5-4f36-bf8b-1dcff04d4699" providerId="ADAL" clId="{76B0D560-61E3-5EE9-8C56-6257E6E60450}" dt="2025-11-13T09:38:18.333" v="1061" actId="1076"/>
          <ac:grpSpMkLst>
            <pc:docMk/>
            <pc:sldMk cId="1166070873" sldId="671"/>
            <ac:grpSpMk id="8" creationId="{A26EF25A-554B-27AF-F8EA-772D6A9ED3CB}"/>
          </ac:grpSpMkLst>
        </pc:grpChg>
        <pc:grpChg chg="mod">
          <ac:chgData name="Costache, Mihaela (Miha)" userId="7a5a59cf-97f5-4f36-bf8b-1dcff04d4699" providerId="ADAL" clId="{76B0D560-61E3-5EE9-8C56-6257E6E60450}" dt="2025-11-13T09:38:16.313" v="1060" actId="164"/>
          <ac:grpSpMkLst>
            <pc:docMk/>
            <pc:sldMk cId="1166070873" sldId="671"/>
            <ac:grpSpMk id="10" creationId="{AAAC59C4-F3BB-9FBE-1DF2-5D8C4A7D9CC8}"/>
          </ac:grpSpMkLst>
        </pc:grpChg>
        <pc:grpChg chg="mod">
          <ac:chgData name="Costache, Mihaela (Miha)" userId="7a5a59cf-97f5-4f36-bf8b-1dcff04d4699" providerId="ADAL" clId="{76B0D560-61E3-5EE9-8C56-6257E6E60450}" dt="2025-11-13T09:38:16.313" v="1060" actId="164"/>
          <ac:grpSpMkLst>
            <pc:docMk/>
            <pc:sldMk cId="1166070873" sldId="671"/>
            <ac:grpSpMk id="15" creationId="{5250614D-A279-25EE-0951-E7F82276E15A}"/>
          </ac:grpSpMkLst>
        </pc:grpChg>
        <pc:grpChg chg="mod">
          <ac:chgData name="Costache, Mihaela (Miha)" userId="7a5a59cf-97f5-4f36-bf8b-1dcff04d4699" providerId="ADAL" clId="{76B0D560-61E3-5EE9-8C56-6257E6E60450}" dt="2025-11-13T09:38:16.313" v="1060" actId="164"/>
          <ac:grpSpMkLst>
            <pc:docMk/>
            <pc:sldMk cId="1166070873" sldId="671"/>
            <ac:grpSpMk id="20" creationId="{ABCEA2AE-EAE2-DBAC-B216-444B8B5523CB}"/>
          </ac:grpSpMkLst>
        </pc:grpChg>
        <pc:grpChg chg="mod">
          <ac:chgData name="Costache, Mihaela (Miha)" userId="7a5a59cf-97f5-4f36-bf8b-1dcff04d4699" providerId="ADAL" clId="{76B0D560-61E3-5EE9-8C56-6257E6E60450}" dt="2025-11-13T09:38:16.313" v="1060" actId="164"/>
          <ac:grpSpMkLst>
            <pc:docMk/>
            <pc:sldMk cId="1166070873" sldId="671"/>
            <ac:grpSpMk id="25" creationId="{BF218847-0184-5423-447A-687CBF9987EB}"/>
          </ac:grpSpMkLst>
        </pc:grpChg>
        <pc:grpChg chg="mod">
          <ac:chgData name="Costache, Mihaela (Miha)" userId="7a5a59cf-97f5-4f36-bf8b-1dcff04d4699" providerId="ADAL" clId="{76B0D560-61E3-5EE9-8C56-6257E6E60450}" dt="2025-11-13T09:36:04.524" v="1037" actId="207"/>
          <ac:grpSpMkLst>
            <pc:docMk/>
            <pc:sldMk cId="1166070873" sldId="671"/>
            <ac:grpSpMk id="101" creationId="{00000000-0000-0000-0000-000000000000}"/>
          </ac:grpSpMkLst>
        </pc:grpChg>
        <pc:grpChg chg="mod">
          <ac:chgData name="Costache, Mihaela (Miha)" userId="7a5a59cf-97f5-4f36-bf8b-1dcff04d4699" providerId="ADAL" clId="{76B0D560-61E3-5EE9-8C56-6257E6E60450}" dt="2025-11-13T09:36:04.524" v="1037" actId="207"/>
          <ac:grpSpMkLst>
            <pc:docMk/>
            <pc:sldMk cId="1166070873" sldId="671"/>
            <ac:grpSpMk id="102" creationId="{00000000-0000-0000-0000-000000000000}"/>
          </ac:grpSpMkLst>
        </pc:grpChg>
        <pc:grpChg chg="mod">
          <ac:chgData name="Costache, Mihaela (Miha)" userId="7a5a59cf-97f5-4f36-bf8b-1dcff04d4699" providerId="ADAL" clId="{76B0D560-61E3-5EE9-8C56-6257E6E60450}" dt="2025-11-13T09:36:04.524" v="1037" actId="207"/>
          <ac:grpSpMkLst>
            <pc:docMk/>
            <pc:sldMk cId="1166070873" sldId="671"/>
            <ac:grpSpMk id="103" creationId="{00000000-0000-0000-0000-000000000000}"/>
          </ac:grpSpMkLst>
        </pc:grpChg>
        <pc:graphicFrameChg chg="mod modGraphic">
          <ac:chgData name="Costache, Mihaela (Miha)" userId="7a5a59cf-97f5-4f36-bf8b-1dcff04d4699" providerId="ADAL" clId="{76B0D560-61E3-5EE9-8C56-6257E6E60450}" dt="2025-11-13T09:38:40.262" v="1062" actId="2711"/>
          <ac:graphicFrameMkLst>
            <pc:docMk/>
            <pc:sldMk cId="1166070873" sldId="671"/>
            <ac:graphicFrameMk id="6" creationId="{C0853489-891B-61B3-DD69-EE477F289180}"/>
          </ac:graphicFrameMkLst>
        </pc:graphicFrameChg>
        <pc:graphicFrameChg chg="mod modGraphic">
          <ac:chgData name="Costache, Mihaela (Miha)" userId="7a5a59cf-97f5-4f36-bf8b-1dcff04d4699" providerId="ADAL" clId="{76B0D560-61E3-5EE9-8C56-6257E6E60450}" dt="2025-11-13T09:38:54.124" v="1065" actId="14734"/>
          <ac:graphicFrameMkLst>
            <pc:docMk/>
            <pc:sldMk cId="1166070873" sldId="671"/>
            <ac:graphicFrameMk id="81" creationId="{57705A1E-1A30-837B-9058-375A145BC473}"/>
          </ac:graphicFrameMkLst>
        </pc:graphicFrameChg>
        <pc:graphicFrameChg chg="mod modGraphic">
          <ac:chgData name="Costache, Mihaela (Miha)" userId="7a5a59cf-97f5-4f36-bf8b-1dcff04d4699" providerId="ADAL" clId="{76B0D560-61E3-5EE9-8C56-6257E6E60450}" dt="2025-11-13T09:38:45.029" v="1063" actId="2711"/>
          <ac:graphicFrameMkLst>
            <pc:docMk/>
            <pc:sldMk cId="1166070873" sldId="671"/>
            <ac:graphicFrameMk id="82" creationId="{9FD0FA2C-22D2-FBCC-5534-B1958E04D33C}"/>
          </ac:graphicFrameMkLst>
        </pc:graphicFrameChg>
        <pc:picChg chg="mod">
          <ac:chgData name="Costache, Mihaela (Miha)" userId="7a5a59cf-97f5-4f36-bf8b-1dcff04d4699" providerId="ADAL" clId="{76B0D560-61E3-5EE9-8C56-6257E6E60450}" dt="2025-11-13T09:38:16.313" v="1060" actId="164"/>
          <ac:picMkLst>
            <pc:docMk/>
            <pc:sldMk cId="1166070873" sldId="671"/>
            <ac:picMk id="30" creationId="{4D81F177-1F12-908B-920B-22FD8621326C}"/>
          </ac:picMkLst>
        </pc:picChg>
        <pc:picChg chg="mod">
          <ac:chgData name="Costache, Mihaela (Miha)" userId="7a5a59cf-97f5-4f36-bf8b-1dcff04d4699" providerId="ADAL" clId="{76B0D560-61E3-5EE9-8C56-6257E6E60450}" dt="2025-11-13T09:38:16.313" v="1060" actId="164"/>
          <ac:picMkLst>
            <pc:docMk/>
            <pc:sldMk cId="1166070873" sldId="671"/>
            <ac:picMk id="32" creationId="{17383F16-AD9F-0AD7-E2B1-8F1F0CEEAFFA}"/>
          </ac:picMkLst>
        </pc:picChg>
        <pc:cxnChg chg="mod">
          <ac:chgData name="Costache, Mihaela (Miha)" userId="7a5a59cf-97f5-4f36-bf8b-1dcff04d4699" providerId="ADAL" clId="{76B0D560-61E3-5EE9-8C56-6257E6E60450}" dt="2025-11-13T09:38:16.313" v="1060" actId="164"/>
          <ac:cxnSpMkLst>
            <pc:docMk/>
            <pc:sldMk cId="1166070873" sldId="671"/>
            <ac:cxnSpMk id="48" creationId="{AA4A4206-8FBA-A6A5-ACC4-478666AE0CEC}"/>
          </ac:cxnSpMkLst>
        </pc:cxnChg>
        <pc:cxnChg chg="mod">
          <ac:chgData name="Costache, Mihaela (Miha)" userId="7a5a59cf-97f5-4f36-bf8b-1dcff04d4699" providerId="ADAL" clId="{76B0D560-61E3-5EE9-8C56-6257E6E60450}" dt="2025-11-13T09:37:02.767" v="1049" actId="255"/>
          <ac:cxnSpMkLst>
            <pc:docMk/>
            <pc:sldMk cId="1166070873" sldId="671"/>
            <ac:cxnSpMk id="98" creationId="{00000000-0000-0000-0000-000000000000}"/>
          </ac:cxnSpMkLst>
        </pc:cxnChg>
        <pc:cxnChg chg="mod">
          <ac:chgData name="Costache, Mihaela (Miha)" userId="7a5a59cf-97f5-4f36-bf8b-1dcff04d4699" providerId="ADAL" clId="{76B0D560-61E3-5EE9-8C56-6257E6E60450}" dt="2025-11-13T09:37:02.767" v="1049" actId="255"/>
          <ac:cxnSpMkLst>
            <pc:docMk/>
            <pc:sldMk cId="1166070873" sldId="671"/>
            <ac:cxnSpMk id="99" creationId="{00000000-0000-0000-0000-000000000000}"/>
          </ac:cxnSpMkLst>
        </pc:cxnChg>
        <pc:cxnChg chg="mod">
          <ac:chgData name="Costache, Mihaela (Miha)" userId="7a5a59cf-97f5-4f36-bf8b-1dcff04d4699" providerId="ADAL" clId="{76B0D560-61E3-5EE9-8C56-6257E6E60450}" dt="2025-11-13T09:09:31.438" v="1005" actId="164"/>
          <ac:cxnSpMkLst>
            <pc:docMk/>
            <pc:sldMk cId="1166070873" sldId="671"/>
            <ac:cxnSpMk id="100" creationId="{00000000-0000-0000-0000-000000000000}"/>
          </ac:cxnSpMkLst>
        </pc:cxnChg>
      </pc:sldChg>
      <pc:sldChg chg="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3394122415" sldId="2147477233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2" creationId="{0859F740-3BA6-0389-D0A6-589DC27C35D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3" creationId="{2092FECF-9E09-B7A0-51EC-181182DC885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4" creationId="{03FF8051-7FFC-5584-9DAD-E4C777FBDE2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14" creationId="{419595C4-837D-F93E-EC04-10AEA745F83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15" creationId="{35E6CCD7-45C7-8D07-8E5E-CFE6C860D038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17" creationId="{5537A38A-3676-E549-59C5-EA7658A6DFC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20" creationId="{B5F34815-A5D5-02B6-90A1-76FBEEB6651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94122415" sldId="2147477233"/>
            <ac:spMk id="22" creationId="{303D2AED-366A-ADEE-0171-408BC2B3E870}"/>
          </ac:spMkLst>
        </pc:spChg>
      </pc:sldChg>
      <pc:sldChg chg="modSp mod modNotes">
        <pc:chgData name="Costache, Mihaela (Miha)" userId="7a5a59cf-97f5-4f36-bf8b-1dcff04d4699" providerId="ADAL" clId="{76B0D560-61E3-5EE9-8C56-6257E6E60450}" dt="2025-11-14T09:50:31.786" v="1732" actId="113"/>
        <pc:sldMkLst>
          <pc:docMk/>
          <pc:sldMk cId="299678983" sldId="2147479065"/>
        </pc:sldMkLst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299678983" sldId="2147479065"/>
            <ac:spMk id="5" creationId="{5CE14473-1D52-C21A-D078-0F6B9CA858F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99678983" sldId="2147479065"/>
            <ac:spMk id="7" creationId="{9BE140D4-0519-AA41-BA93-0DA9B76F270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99678983" sldId="2147479065"/>
            <ac:spMk id="9" creationId="{515FA041-3589-9641-B025-285AE9FDAAF7}"/>
          </ac:spMkLst>
        </pc:spChg>
        <pc:spChg chg="mod">
          <ac:chgData name="Costache, Mihaela (Miha)" userId="7a5a59cf-97f5-4f36-bf8b-1dcff04d4699" providerId="ADAL" clId="{76B0D560-61E3-5EE9-8C56-6257E6E60450}" dt="2025-11-14T09:50:31.786" v="1732" actId="113"/>
          <ac:spMkLst>
            <pc:docMk/>
            <pc:sldMk cId="299678983" sldId="2147479065"/>
            <ac:spMk id="13" creationId="{C22F30E0-7CF3-4032-8AC5-5854CAA3F98C}"/>
          </ac:spMkLst>
        </pc:spChg>
        <pc:spChg chg="mod">
          <ac:chgData name="Costache, Mihaela (Miha)" userId="7a5a59cf-97f5-4f36-bf8b-1dcff04d4699" providerId="ADAL" clId="{76B0D560-61E3-5EE9-8C56-6257E6E60450}" dt="2025-11-13T10:30:54.503" v="1419" actId="1076"/>
          <ac:spMkLst>
            <pc:docMk/>
            <pc:sldMk cId="299678983" sldId="2147479065"/>
            <ac:spMk id="16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99678983" sldId="2147479065"/>
            <ac:spMk id="17" creationId="{00000000-0000-0000-0000-000000000000}"/>
          </ac:spMkLst>
        </pc:spChg>
        <pc:cxnChg chg="mod">
          <ac:chgData name="Costache, Mihaela (Miha)" userId="7a5a59cf-97f5-4f36-bf8b-1dcff04d4699" providerId="ADAL" clId="{76B0D560-61E3-5EE9-8C56-6257E6E60450}" dt="2025-11-13T10:30:54.503" v="1419" actId="1076"/>
          <ac:cxnSpMkLst>
            <pc:docMk/>
            <pc:sldMk cId="299678983" sldId="2147479065"/>
            <ac:cxnSpMk id="10" creationId="{D1585116-D097-AB16-C827-8EA038161FF6}"/>
          </ac:cxnSpMkLst>
        </pc:cxnChg>
      </pc:sldChg>
      <pc:sldChg chg="modSp mod">
        <pc:chgData name="Costache, Mihaela (Miha)" userId="7a5a59cf-97f5-4f36-bf8b-1dcff04d4699" providerId="ADAL" clId="{76B0D560-61E3-5EE9-8C56-6257E6E60450}" dt="2025-11-13T10:40:08.609" v="1504"/>
        <pc:sldMkLst>
          <pc:docMk/>
          <pc:sldMk cId="2292181163" sldId="2147480152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4" creationId="{00000000-0000-0000-0000-000000000000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5" creationId="{A2A06640-C694-6A43-84BE-E792D13FD79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6" creationId="{23FAEBFC-FCF4-4DB2-AA77-3B703247CF4A}"/>
          </ac:spMkLst>
        </pc:spChg>
        <pc:spChg chg="mod">
          <ac:chgData name="Costache, Mihaela (Miha)" userId="7a5a59cf-97f5-4f36-bf8b-1dcff04d4699" providerId="ADAL" clId="{76B0D560-61E3-5EE9-8C56-6257E6E60450}" dt="2025-11-13T10:33:34.057" v="1450" actId="1036"/>
          <ac:spMkLst>
            <pc:docMk/>
            <pc:sldMk cId="2292181163" sldId="2147480152"/>
            <ac:spMk id="7" creationId="{F8EE5F88-4CAF-4362-AAE8-F0A83D7FE9D8}"/>
          </ac:spMkLst>
        </pc:spChg>
        <pc:spChg chg="mod">
          <ac:chgData name="Costache, Mihaela (Miha)" userId="7a5a59cf-97f5-4f36-bf8b-1dcff04d4699" providerId="ADAL" clId="{76B0D560-61E3-5EE9-8C56-6257E6E60450}" dt="2025-11-13T10:33:34.057" v="1450" actId="1036"/>
          <ac:spMkLst>
            <pc:docMk/>
            <pc:sldMk cId="2292181163" sldId="2147480152"/>
            <ac:spMk id="9" creationId="{37479092-AE43-430D-90BB-E23A9CA4449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24" creationId="{696A9ADA-00F4-C449-BB56-8FCBB8C8A57A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29" creationId="{A2A06640-C694-6A43-84BE-E792D13FD79D}"/>
          </ac:spMkLst>
        </pc:spChg>
        <pc:spChg chg="mod">
          <ac:chgData name="Costache, Mihaela (Miha)" userId="7a5a59cf-97f5-4f36-bf8b-1dcff04d4699" providerId="ADAL" clId="{76B0D560-61E3-5EE9-8C56-6257E6E60450}" dt="2025-11-13T10:33:34.057" v="1450" actId="1036"/>
          <ac:spMkLst>
            <pc:docMk/>
            <pc:sldMk cId="2292181163" sldId="2147480152"/>
            <ac:spMk id="30" creationId="{A2A06640-C694-6A43-84BE-E792D13FD79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35" creationId="{A4A1FD72-EE76-451E-A3A5-B304F8E3EFC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37" creationId="{8E9D49A8-9026-4B9A-AE41-EAAFBDC24BF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38" creationId="{763A2943-86F3-487A-B6B9-9744D4F03B4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40" creationId="{CBE5346F-3B9F-467E-96C7-13230102260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292181163" sldId="2147480152"/>
            <ac:spMk id="41" creationId="{6F759F5C-FD5B-44C9-87B3-5A43CF61BB60}"/>
          </ac:spMkLst>
        </pc:spChg>
        <pc:grpChg chg="mod">
          <ac:chgData name="Costache, Mihaela (Miha)" userId="7a5a59cf-97f5-4f36-bf8b-1dcff04d4699" providerId="ADAL" clId="{76B0D560-61E3-5EE9-8C56-6257E6E60450}" dt="2025-11-13T10:33:34.057" v="1450" actId="1036"/>
          <ac:grpSpMkLst>
            <pc:docMk/>
            <pc:sldMk cId="2292181163" sldId="2147480152"/>
            <ac:grpSpMk id="31" creationId="{00000000-0000-0000-0000-000000000000}"/>
          </ac:grpSpMkLst>
        </pc:grpChg>
        <pc:picChg chg="mod">
          <ac:chgData name="Costache, Mihaela (Miha)" userId="7a5a59cf-97f5-4f36-bf8b-1dcff04d4699" providerId="ADAL" clId="{76B0D560-61E3-5EE9-8C56-6257E6E60450}" dt="2025-11-13T10:33:34.057" v="1450" actId="1036"/>
          <ac:picMkLst>
            <pc:docMk/>
            <pc:sldMk cId="2292181163" sldId="2147480152"/>
            <ac:picMk id="44" creationId="{9F211939-171A-4623-B466-AAEEDDF9CCFF}"/>
          </ac:picMkLst>
        </pc:picChg>
        <pc:picChg chg="mod">
          <ac:chgData name="Costache, Mihaela (Miha)" userId="7a5a59cf-97f5-4f36-bf8b-1dcff04d4699" providerId="ADAL" clId="{76B0D560-61E3-5EE9-8C56-6257E6E60450}" dt="2025-11-13T10:33:34.057" v="1450" actId="1036"/>
          <ac:picMkLst>
            <pc:docMk/>
            <pc:sldMk cId="2292181163" sldId="2147480152"/>
            <ac:picMk id="45" creationId="{C7C243A6-BEB1-40C3-9EDA-089BCD9D8624}"/>
          </ac:picMkLst>
        </pc:picChg>
        <pc:picChg chg="mod">
          <ac:chgData name="Costache, Mihaela (Miha)" userId="7a5a59cf-97f5-4f36-bf8b-1dcff04d4699" providerId="ADAL" clId="{76B0D560-61E3-5EE9-8C56-6257E6E60450}" dt="2025-11-13T10:33:34.057" v="1450" actId="1036"/>
          <ac:picMkLst>
            <pc:docMk/>
            <pc:sldMk cId="2292181163" sldId="2147480152"/>
            <ac:picMk id="49" creationId="{DEDAF72E-67D7-4981-A083-8E5EF72AD3F0}"/>
          </ac:picMkLst>
        </pc:picChg>
      </pc:sldChg>
      <pc:sldChg chg="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855792244" sldId="2147480156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855792244" sldId="2147480156"/>
            <ac:spMk id="2" creationId="{B541BCC6-1284-8194-8810-ADC312E85AAF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855792244" sldId="2147480156"/>
            <ac:spMk id="3" creationId="{84BF8746-98BD-9BDF-5535-BDC640F6524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855792244" sldId="2147480156"/>
            <ac:spMk id="13" creationId="{5A3D2B0B-3924-E48C-CEF8-6B26F35F71DF}"/>
          </ac:spMkLst>
        </pc:spChg>
        <pc:graphicFrameChg chg="mod">
          <ac:chgData name="Costache, Mihaela (Miha)" userId="7a5a59cf-97f5-4f36-bf8b-1dcff04d4699" providerId="ADAL" clId="{76B0D560-61E3-5EE9-8C56-6257E6E60450}" dt="2025-11-13T10:40:08.609" v="1504"/>
          <ac:graphicFrameMkLst>
            <pc:docMk/>
            <pc:sldMk cId="855792244" sldId="2147480156"/>
            <ac:graphicFrameMk id="4" creationId="{6177ABDE-CA64-1407-75ED-155C7C1C2F8C}"/>
          </ac:graphicFrameMkLst>
        </pc:graphicFrameChg>
        <pc:picChg chg="mod">
          <ac:chgData name="Costache, Mihaela (Miha)" userId="7a5a59cf-97f5-4f36-bf8b-1dcff04d4699" providerId="ADAL" clId="{76B0D560-61E3-5EE9-8C56-6257E6E60450}" dt="2025-11-13T10:34:04.999" v="1454" actId="1076"/>
          <ac:picMkLst>
            <pc:docMk/>
            <pc:sldMk cId="855792244" sldId="2147480156"/>
            <ac:picMk id="5" creationId="{04857E2A-529E-2116-192B-DF702200C938}"/>
          </ac:picMkLst>
        </pc:picChg>
      </pc:sldChg>
      <pc:sldChg chg="modSp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1845874408" sldId="2147483181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2" creationId="{ADE0C665-BEDE-14EB-D4A3-D7F696BF1F7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29" creationId="{32910AE3-868D-4BD4-AD4A-0C6ACA59DF6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30" creationId="{E27609F5-8B0C-448A-876B-335B164C2449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56" creationId="{1D6FF008-F21C-4F07-1918-057049F02D93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57" creationId="{2BF06BC0-52E9-2507-3439-57463E6E86F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58" creationId="{B2B9B64B-E55E-C74B-080D-1CE75D5EB22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59" creationId="{ECB8F1EA-B6A7-6E8B-9A19-C7D54BFE76B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845874408" sldId="2147483181"/>
            <ac:spMk id="63" creationId="{DFD0B6F4-80B4-D688-F297-DED0F6FF5FB5}"/>
          </ac:spMkLst>
        </pc:spChg>
      </pc:sldChg>
      <pc:sldChg chg="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16622976" sldId="2147483533"/>
        </pc:sldMkLst>
        <pc:spChg chg="mod">
          <ac:chgData name="Costache, Mihaela (Miha)" userId="7a5a59cf-97f5-4f36-bf8b-1dcff04d4699" providerId="ADAL" clId="{76B0D560-61E3-5EE9-8C56-6257E6E60450}" dt="2025-11-13T10:31:52.721" v="1431" actId="1076"/>
          <ac:spMkLst>
            <pc:docMk/>
            <pc:sldMk cId="16622976" sldId="2147483533"/>
            <ac:spMk id="2" creationId="{2D98988F-C9A6-498F-B6F9-5D31A114C8F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6622976" sldId="2147483533"/>
            <ac:spMk id="3" creationId="{53193C56-0B8E-480F-8DBF-5813557E8CB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16622976" sldId="2147483533"/>
            <ac:spMk id="8" creationId="{8480F730-04E1-4A6E-A847-504CCEB804B8}"/>
          </ac:spMkLst>
        </pc:spChg>
        <pc:graphicFrameChg chg="mod modGraphic">
          <ac:chgData name="Costache, Mihaela (Miha)" userId="7a5a59cf-97f5-4f36-bf8b-1dcff04d4699" providerId="ADAL" clId="{76B0D560-61E3-5EE9-8C56-6257E6E60450}" dt="2025-11-13T10:40:08.609" v="1504"/>
          <ac:graphicFrameMkLst>
            <pc:docMk/>
            <pc:sldMk cId="16622976" sldId="2147483533"/>
            <ac:graphicFrameMk id="4" creationId="{94BC4B75-C2CE-4AC3-9DF1-A2C3E9A59FF2}"/>
          </ac:graphicFrameMkLst>
        </pc:graphicFrameChg>
        <pc:graphicFrameChg chg="mod modGraphic">
          <ac:chgData name="Costache, Mihaela (Miha)" userId="7a5a59cf-97f5-4f36-bf8b-1dcff04d4699" providerId="ADAL" clId="{76B0D560-61E3-5EE9-8C56-6257E6E60450}" dt="2025-11-13T10:40:08.609" v="1504"/>
          <ac:graphicFrameMkLst>
            <pc:docMk/>
            <pc:sldMk cId="16622976" sldId="2147483533"/>
            <ac:graphicFrameMk id="15" creationId="{5B00BB70-9ED6-4367-A108-FA307ED7C37A}"/>
          </ac:graphicFrameMkLst>
        </pc:graphicFrameChg>
        <pc:graphicFrameChg chg="mod modGraphic">
          <ac:chgData name="Costache, Mihaela (Miha)" userId="7a5a59cf-97f5-4f36-bf8b-1dcff04d4699" providerId="ADAL" clId="{76B0D560-61E3-5EE9-8C56-6257E6E60450}" dt="2025-11-13T10:40:08.609" v="1504"/>
          <ac:graphicFrameMkLst>
            <pc:docMk/>
            <pc:sldMk cId="16622976" sldId="2147483533"/>
            <ac:graphicFrameMk id="20" creationId="{3DC045EF-F9A1-405A-BC1A-78D164A01F89}"/>
          </ac:graphicFrameMkLst>
        </pc:graphicFrameChg>
      </pc:sldChg>
      <pc:sldChg chg="addSp delSp modSp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338678327" sldId="2147483633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678327" sldId="2147483633"/>
            <ac:spMk id="3" creationId="{14E0B610-2CC0-A04F-9D31-E78F4081A097}"/>
          </ac:spMkLst>
        </pc:spChg>
        <pc:spChg chg="mod">
          <ac:chgData name="Costache, Mihaela (Miha)" userId="7a5a59cf-97f5-4f36-bf8b-1dcff04d4699" providerId="ADAL" clId="{76B0D560-61E3-5EE9-8C56-6257E6E60450}" dt="2025-11-13T10:27:23.115" v="1343" actId="1036"/>
          <ac:spMkLst>
            <pc:docMk/>
            <pc:sldMk cId="338678327" sldId="2147483633"/>
            <ac:spMk id="4" creationId="{3BEB5425-6A05-CB41-B694-AAF47120CCAF}"/>
          </ac:spMkLst>
        </pc:spChg>
        <pc:spChg chg="del">
          <ac:chgData name="Costache, Mihaela (Miha)" userId="7a5a59cf-97f5-4f36-bf8b-1dcff04d4699" providerId="ADAL" clId="{76B0D560-61E3-5EE9-8C56-6257E6E60450}" dt="2025-11-13T09:45:38.324" v="1109" actId="478"/>
          <ac:spMkLst>
            <pc:docMk/>
            <pc:sldMk cId="338678327" sldId="2147483633"/>
            <ac:spMk id="5" creationId="{7A0B8A54-881B-A395-62AD-CA07F85CD82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678327" sldId="2147483633"/>
            <ac:spMk id="6" creationId="{10E6162E-AD37-B367-D85C-61E428DDCB7E}"/>
          </ac:spMkLst>
        </pc:spChg>
        <pc:spChg chg="del mod topLvl">
          <ac:chgData name="Costache, Mihaela (Miha)" userId="7a5a59cf-97f5-4f36-bf8b-1dcff04d4699" providerId="ADAL" clId="{76B0D560-61E3-5EE9-8C56-6257E6E60450}" dt="2025-11-13T10:04:38.494" v="1263" actId="478"/>
          <ac:spMkLst>
            <pc:docMk/>
            <pc:sldMk cId="338678327" sldId="2147483633"/>
            <ac:spMk id="8" creationId="{8278D287-C1EB-9A31-47C4-4B2573669885}"/>
          </ac:spMkLst>
        </pc:spChg>
        <pc:spChg chg="mod topLvl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678327" sldId="2147483633"/>
            <ac:spMk id="9" creationId="{B41DC759-ED43-F6E6-8F61-594A92D4F264}"/>
          </ac:spMkLst>
        </pc:spChg>
        <pc:spChg chg="del mod">
          <ac:chgData name="Costache, Mihaela (Miha)" userId="7a5a59cf-97f5-4f36-bf8b-1dcff04d4699" providerId="ADAL" clId="{76B0D560-61E3-5EE9-8C56-6257E6E60450}" dt="2025-11-13T10:06:20.264" v="1280" actId="478"/>
          <ac:spMkLst>
            <pc:docMk/>
            <pc:sldMk cId="338678327" sldId="2147483633"/>
            <ac:spMk id="13" creationId="{5D56C204-51F7-CA46-87F3-F92868483310}"/>
          </ac:spMkLst>
        </pc:spChg>
        <pc:spChg chg="del">
          <ac:chgData name="Costache, Mihaela (Miha)" userId="7a5a59cf-97f5-4f36-bf8b-1dcff04d4699" providerId="ADAL" clId="{76B0D560-61E3-5EE9-8C56-6257E6E60450}" dt="2025-11-13T09:45:39.832" v="1110" actId="478"/>
          <ac:spMkLst>
            <pc:docMk/>
            <pc:sldMk cId="338678327" sldId="2147483633"/>
            <ac:spMk id="14" creationId="{4B31B628-0DBC-7593-6646-0173954EE663}"/>
          </ac:spMkLst>
        </pc:spChg>
        <pc:spChg chg="add del mod">
          <ac:chgData name="Costache, Mihaela (Miha)" userId="7a5a59cf-97f5-4f36-bf8b-1dcff04d4699" providerId="ADAL" clId="{76B0D560-61E3-5EE9-8C56-6257E6E60450}" dt="2025-11-13T10:02:11.076" v="1203" actId="21"/>
          <ac:spMkLst>
            <pc:docMk/>
            <pc:sldMk cId="338678327" sldId="2147483633"/>
            <ac:spMk id="18" creationId="{B486D395-D980-78AE-69A2-EA95B5E5FA64}"/>
          </ac:spMkLst>
        </pc:spChg>
        <pc:spChg chg="add del mod">
          <ac:chgData name="Costache, Mihaela (Miha)" userId="7a5a59cf-97f5-4f36-bf8b-1dcff04d4699" providerId="ADAL" clId="{76B0D560-61E3-5EE9-8C56-6257E6E60450}" dt="2025-11-13T10:02:11.076" v="1203" actId="21"/>
          <ac:spMkLst>
            <pc:docMk/>
            <pc:sldMk cId="338678327" sldId="2147483633"/>
            <ac:spMk id="23" creationId="{2C131416-D6AC-E2FC-AD77-CD10E2CF7625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27" creationId="{26F4A95B-CEA7-8DD6-BCA4-12F9F0EC24D8}"/>
          </ac:spMkLst>
        </pc:spChg>
        <pc:spChg chg="mod">
          <ac:chgData name="Costache, Mihaela (Miha)" userId="7a5a59cf-97f5-4f36-bf8b-1dcff04d4699" providerId="ADAL" clId="{76B0D560-61E3-5EE9-8C56-6257E6E60450}" dt="2025-11-13T09:52:33.104" v="1177" actId="20577"/>
          <ac:spMkLst>
            <pc:docMk/>
            <pc:sldMk cId="338678327" sldId="2147483633"/>
            <ac:spMk id="28" creationId="{8E48482B-6ADA-68C8-2DBA-968994486CEA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29" creationId="{25188DAE-1510-0608-1BC1-B1BE867085B7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1" creationId="{1DB5BF62-1107-C5DF-7456-71A5F69B6F8C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2" creationId="{4BD703CE-BC23-970A-C327-BE9A8613635F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3" creationId="{2AFCCF5F-0790-120F-D084-E20FF90AD7FF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5" creationId="{80A245D5-7E8C-3FDB-676A-CA901602AB3F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6" creationId="{ADA57943-92B1-CFA3-6BDB-9C46C5A4F5D8}"/>
          </ac:spMkLst>
        </pc:spChg>
        <pc:spChg chg="mod">
          <ac:chgData name="Costache, Mihaela (Miha)" userId="7a5a59cf-97f5-4f36-bf8b-1dcff04d4699" providerId="ADAL" clId="{76B0D560-61E3-5EE9-8C56-6257E6E60450}" dt="2025-11-13T09:52:28.408" v="1176" actId="113"/>
          <ac:spMkLst>
            <pc:docMk/>
            <pc:sldMk cId="338678327" sldId="2147483633"/>
            <ac:spMk id="37" creationId="{5A599A12-9633-9D16-C32B-680ED5755C30}"/>
          </ac:spMkLst>
        </pc:spChg>
        <pc:spChg chg="del mod topLvl">
          <ac:chgData name="Costache, Mihaela (Miha)" userId="7a5a59cf-97f5-4f36-bf8b-1dcff04d4699" providerId="ADAL" clId="{76B0D560-61E3-5EE9-8C56-6257E6E60450}" dt="2025-11-13T10:05:37.981" v="1275" actId="478"/>
          <ac:spMkLst>
            <pc:docMk/>
            <pc:sldMk cId="338678327" sldId="2147483633"/>
            <ac:spMk id="59" creationId="{B1EDA194-4436-D45D-0F9C-FEF8E4C82979}"/>
          </ac:spMkLst>
        </pc:spChg>
        <pc:spChg chg="del mod topLvl">
          <ac:chgData name="Costache, Mihaela (Miha)" userId="7a5a59cf-97f5-4f36-bf8b-1dcff04d4699" providerId="ADAL" clId="{76B0D560-61E3-5EE9-8C56-6257E6E60450}" dt="2025-11-13T10:05:37.981" v="1275" actId="478"/>
          <ac:spMkLst>
            <pc:docMk/>
            <pc:sldMk cId="338678327" sldId="2147483633"/>
            <ac:spMk id="60" creationId="{B4F46030-2618-34E8-43C8-83A01D7CB9B8}"/>
          </ac:spMkLst>
        </pc:spChg>
        <pc:grpChg chg="add del mod">
          <ac:chgData name="Costache, Mihaela (Miha)" userId="7a5a59cf-97f5-4f36-bf8b-1dcff04d4699" providerId="ADAL" clId="{76B0D560-61E3-5EE9-8C56-6257E6E60450}" dt="2025-11-13T10:05:32.789" v="1274" actId="165"/>
          <ac:grpSpMkLst>
            <pc:docMk/>
            <pc:sldMk cId="338678327" sldId="2147483633"/>
            <ac:grpSpMk id="2" creationId="{6C5E5648-8204-BEF4-CFBB-08598FBBC1D9}"/>
          </ac:grpSpMkLst>
        </pc:grpChg>
        <pc:grpChg chg="add del mod">
          <ac:chgData name="Costache, Mihaela (Miha)" userId="7a5a59cf-97f5-4f36-bf8b-1dcff04d4699" providerId="ADAL" clId="{76B0D560-61E3-5EE9-8C56-6257E6E60450}" dt="2025-11-13T10:04:38.494" v="1263" actId="478"/>
          <ac:grpSpMkLst>
            <pc:docMk/>
            <pc:sldMk cId="338678327" sldId="2147483633"/>
            <ac:grpSpMk id="7" creationId="{516FAFA6-3302-8E81-0C37-2F4D5EA03C6D}"/>
          </ac:grpSpMkLst>
        </pc:grpChg>
        <pc:grpChg chg="add del mod">
          <ac:chgData name="Costache, Mihaela (Miha)" userId="7a5a59cf-97f5-4f36-bf8b-1dcff04d4699" providerId="ADAL" clId="{76B0D560-61E3-5EE9-8C56-6257E6E60450}" dt="2025-11-13T10:09:48.590" v="1287" actId="165"/>
          <ac:grpSpMkLst>
            <pc:docMk/>
            <pc:sldMk cId="338678327" sldId="2147483633"/>
            <ac:grpSpMk id="10" creationId="{743404E9-8ED8-49AD-D8E2-487B703BB281}"/>
          </ac:grpSpMkLst>
        </pc:grpChg>
        <pc:grpChg chg="add del mod">
          <ac:chgData name="Costache, Mihaela (Miha)" userId="7a5a59cf-97f5-4f36-bf8b-1dcff04d4699" providerId="ADAL" clId="{76B0D560-61E3-5EE9-8C56-6257E6E60450}" dt="2025-11-13T10:02:11.076" v="1203" actId="21"/>
          <ac:grpSpMkLst>
            <pc:docMk/>
            <pc:sldMk cId="338678327" sldId="2147483633"/>
            <ac:grpSpMk id="24" creationId="{C8DEBC2A-3F39-F578-3480-CDB5E21F0134}"/>
          </ac:grpSpMkLst>
        </pc:grpChg>
        <pc:picChg chg="add mod">
          <ac:chgData name="Costache, Mihaela (Miha)" userId="7a5a59cf-97f5-4f36-bf8b-1dcff04d4699" providerId="ADAL" clId="{76B0D560-61E3-5EE9-8C56-6257E6E60450}" dt="2025-11-13T10:26:04.598" v="1300" actId="14100"/>
          <ac:picMkLst>
            <pc:docMk/>
            <pc:sldMk cId="338678327" sldId="2147483633"/>
            <ac:picMk id="12" creationId="{476617A7-9C44-E5E4-98FB-06938337F85A}"/>
          </ac:picMkLst>
        </pc:picChg>
        <pc:picChg chg="add mod">
          <ac:chgData name="Costache, Mihaela (Miha)" userId="7a5a59cf-97f5-4f36-bf8b-1dcff04d4699" providerId="ADAL" clId="{76B0D560-61E3-5EE9-8C56-6257E6E60450}" dt="2025-11-13T10:26:23.914" v="1306" actId="1076"/>
          <ac:picMkLst>
            <pc:docMk/>
            <pc:sldMk cId="338678327" sldId="2147483633"/>
            <ac:picMk id="16" creationId="{6F975867-97F7-603F-5021-AEB5752F3973}"/>
          </ac:picMkLst>
        </pc:picChg>
        <pc:picChg chg="del mod topLvl">
          <ac:chgData name="Costache, Mihaela (Miha)" userId="7a5a59cf-97f5-4f36-bf8b-1dcff04d4699" providerId="ADAL" clId="{76B0D560-61E3-5EE9-8C56-6257E6E60450}" dt="2025-11-13T10:10:17.870" v="1294" actId="478"/>
          <ac:picMkLst>
            <pc:docMk/>
            <pc:sldMk cId="338678327" sldId="2147483633"/>
            <ac:picMk id="57" creationId="{C4AF6775-A493-98B5-BA12-DFA81FE422E9}"/>
          </ac:picMkLst>
        </pc:picChg>
        <pc:picChg chg="del mod topLvl">
          <ac:chgData name="Costache, Mihaela (Miha)" userId="7a5a59cf-97f5-4f36-bf8b-1dcff04d4699" providerId="ADAL" clId="{76B0D560-61E3-5EE9-8C56-6257E6E60450}" dt="2025-11-13T10:10:17.046" v="1293" actId="478"/>
          <ac:picMkLst>
            <pc:docMk/>
            <pc:sldMk cId="338678327" sldId="2147483633"/>
            <ac:picMk id="61" creationId="{8EEF6A89-19F1-BC2F-E470-53E59F9E2399}"/>
          </ac:picMkLst>
        </pc:picChg>
        <pc:cxnChg chg="add mod">
          <ac:chgData name="Costache, Mihaela (Miha)" userId="7a5a59cf-97f5-4f36-bf8b-1dcff04d4699" providerId="ADAL" clId="{76B0D560-61E3-5EE9-8C56-6257E6E60450}" dt="2025-11-13T10:26:48.092" v="1335" actId="692"/>
          <ac:cxnSpMkLst>
            <pc:docMk/>
            <pc:sldMk cId="338678327" sldId="2147483633"/>
            <ac:cxnSpMk id="19" creationId="{76BEC53A-9070-B7E4-06D2-7EDDB618F2EC}"/>
          </ac:cxnSpMkLst>
        </pc:cxnChg>
        <pc:cxnChg chg="del mod">
          <ac:chgData name="Costache, Mihaela (Miha)" userId="7a5a59cf-97f5-4f36-bf8b-1dcff04d4699" providerId="ADAL" clId="{76B0D560-61E3-5EE9-8C56-6257E6E60450}" dt="2025-11-13T10:04:33.216" v="1259" actId="478"/>
          <ac:cxnSpMkLst>
            <pc:docMk/>
            <pc:sldMk cId="338678327" sldId="2147483633"/>
            <ac:cxnSpMk id="62" creationId="{E38259DF-A53B-8E50-A6DE-CCDD2C51647F}"/>
          </ac:cxnSpMkLst>
        </pc:cxnChg>
        <pc:cxnChg chg="del mod">
          <ac:chgData name="Costache, Mihaela (Miha)" userId="7a5a59cf-97f5-4f36-bf8b-1dcff04d4699" providerId="ADAL" clId="{76B0D560-61E3-5EE9-8C56-6257E6E60450}" dt="2025-11-13T10:04:34.013" v="1260" actId="478"/>
          <ac:cxnSpMkLst>
            <pc:docMk/>
            <pc:sldMk cId="338678327" sldId="2147483633"/>
            <ac:cxnSpMk id="63" creationId="{297F0471-2858-1D59-1C89-95283C007809}"/>
          </ac:cxnSpMkLst>
        </pc:cxnChg>
      </pc:sldChg>
      <pc:sldChg chg="addSp delSp modSp mod modNotes">
        <pc:chgData name="Costache, Mihaela (Miha)" userId="7a5a59cf-97f5-4f36-bf8b-1dcff04d4699" providerId="ADAL" clId="{76B0D560-61E3-5EE9-8C56-6257E6E60450}" dt="2025-11-13T10:40:26.539" v="1505"/>
        <pc:sldMkLst>
          <pc:docMk/>
          <pc:sldMk cId="3385390193" sldId="2147483634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3" creationId="{D5871D35-B522-D638-AB21-D885A90E43E4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6" creationId="{8581322C-A3A5-1FC9-6878-42CF944C2EBF}"/>
          </ac:spMkLst>
        </pc:spChg>
        <pc:spChg chg="del mod">
          <ac:chgData name="Costache, Mihaela (Miha)" userId="7a5a59cf-97f5-4f36-bf8b-1dcff04d4699" providerId="ADAL" clId="{76B0D560-61E3-5EE9-8C56-6257E6E60450}" dt="2025-11-13T09:03:53.828" v="955" actId="478"/>
          <ac:spMkLst>
            <pc:docMk/>
            <pc:sldMk cId="3385390193" sldId="2147483634"/>
            <ac:spMk id="12" creationId="{33680D53-60DD-467D-BEC9-3253DC35063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14" creationId="{8669CBF8-D4B3-4274-AEDE-8FA1A43C2C1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15" creationId="{85119A5B-F380-434B-8A60-3CC575750716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18" creationId="{0B48BBA5-7223-4CA0-9676-4CF523FC165B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25" creationId="{016367DA-22CB-4716-A6EF-A48CD2F301CA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26" creationId="{9A9A795E-6818-4249-B059-E5E0716153F2}"/>
          </ac:spMkLst>
        </pc:spChg>
        <pc:spChg chg="mod">
          <ac:chgData name="Costache, Mihaela (Miha)" userId="7a5a59cf-97f5-4f36-bf8b-1dcff04d4699" providerId="ADAL" clId="{76B0D560-61E3-5EE9-8C56-6257E6E60450}" dt="2025-11-13T10:30:03.671" v="1410" actId="1076"/>
          <ac:spMkLst>
            <pc:docMk/>
            <pc:sldMk cId="3385390193" sldId="2147483634"/>
            <ac:spMk id="31" creationId="{8E835B47-4893-0DDC-73FB-BE194BC1FA62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34" creationId="{6DC65BD0-8903-6146-1308-C9E9595F1962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36" creationId="{DAFD8DA2-B36A-DBE6-966D-FB6D07741D23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37" creationId="{C663CCFA-79FA-614B-5182-32397F856112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38" creationId="{6C668223-A1AF-D9EA-6A1B-1697597D0862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39" creationId="{74D386A6-8C62-9915-92D6-4A9054251A17}"/>
          </ac:spMkLst>
        </pc:spChg>
        <pc:spChg chg="mod">
          <ac:chgData name="Costache, Mihaela (Miha)" userId="7a5a59cf-97f5-4f36-bf8b-1dcff04d4699" providerId="ADAL" clId="{76B0D560-61E3-5EE9-8C56-6257E6E60450}" dt="2025-11-13T10:40:26.539" v="1505"/>
          <ac:spMkLst>
            <pc:docMk/>
            <pc:sldMk cId="3385390193" sldId="2147483634"/>
            <ac:spMk id="47" creationId="{8F3281A9-A3B1-F6B2-2AD1-1DE7100128A2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3385390193" sldId="2147483634"/>
            <ac:spMk id="48" creationId="{D814E110-9917-66B8-4967-505CF37E39AB}"/>
          </ac:spMkLst>
        </pc:spChg>
        <pc:grpChg chg="mod">
          <ac:chgData name="Costache, Mihaela (Miha)" userId="7a5a59cf-97f5-4f36-bf8b-1dcff04d4699" providerId="ADAL" clId="{76B0D560-61E3-5EE9-8C56-6257E6E60450}" dt="2025-11-13T09:04:07.002" v="977" actId="1036"/>
          <ac:grpSpMkLst>
            <pc:docMk/>
            <pc:sldMk cId="3385390193" sldId="2147483634"/>
            <ac:grpSpMk id="33" creationId="{5BFFDF90-0B7A-016E-97F9-11F35D178AA6}"/>
          </ac:grpSpMkLst>
        </pc:grpChg>
        <pc:picChg chg="mod">
          <ac:chgData name="Costache, Mihaela (Miha)" userId="7a5a59cf-97f5-4f36-bf8b-1dcff04d4699" providerId="ADAL" clId="{76B0D560-61E3-5EE9-8C56-6257E6E60450}" dt="2025-11-13T09:04:53.122" v="983" actId="1076"/>
          <ac:picMkLst>
            <pc:docMk/>
            <pc:sldMk cId="3385390193" sldId="2147483634"/>
            <ac:picMk id="2" creationId="{71D0579A-B073-9D00-FD38-2860E35A4748}"/>
          </ac:picMkLst>
        </pc:picChg>
        <pc:picChg chg="mod">
          <ac:chgData name="Costache, Mihaela (Miha)" userId="7a5a59cf-97f5-4f36-bf8b-1dcff04d4699" providerId="ADAL" clId="{76B0D560-61E3-5EE9-8C56-6257E6E60450}" dt="2025-11-13T09:07:07.744" v="986" actId="1036"/>
          <ac:picMkLst>
            <pc:docMk/>
            <pc:sldMk cId="3385390193" sldId="2147483634"/>
            <ac:picMk id="44" creationId="{02A0C6DB-43B7-0C8C-1FF0-D84892583180}"/>
          </ac:picMkLst>
        </pc:picChg>
      </pc:sldChg>
      <pc:sldChg chg="addSp delSp modSp add del mod modNotes">
        <pc:chgData name="Costache, Mihaela (Miha)" userId="7a5a59cf-97f5-4f36-bf8b-1dcff04d4699" providerId="ADAL" clId="{76B0D560-61E3-5EE9-8C56-6257E6E60450}" dt="2025-11-13T10:40:08.609" v="1504"/>
        <pc:sldMkLst>
          <pc:docMk/>
          <pc:sldMk cId="2811585508" sldId="2147483636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4" creationId="{397C0AE4-D24C-B6C9-8912-F3BF4BCB9E6B}"/>
          </ac:spMkLst>
        </pc:spChg>
        <pc:spChg chg="del mod">
          <ac:chgData name="Costache, Mihaela (Miha)" userId="7a5a59cf-97f5-4f36-bf8b-1dcff04d4699" providerId="ADAL" clId="{76B0D560-61E3-5EE9-8C56-6257E6E60450}" dt="2025-11-13T08:58:01.138" v="885" actId="478"/>
          <ac:spMkLst>
            <pc:docMk/>
            <pc:sldMk cId="2811585508" sldId="2147483636"/>
            <ac:spMk id="5" creationId="{660DAB97-6963-9A13-1A4E-8346412282E7}"/>
          </ac:spMkLst>
        </pc:spChg>
        <pc:spChg chg="del">
          <ac:chgData name="Costache, Mihaela (Miha)" userId="7a5a59cf-97f5-4f36-bf8b-1dcff04d4699" providerId="ADAL" clId="{76B0D560-61E3-5EE9-8C56-6257E6E60450}" dt="2025-11-13T08:23:56.697" v="776" actId="478"/>
          <ac:spMkLst>
            <pc:docMk/>
            <pc:sldMk cId="2811585508" sldId="2147483636"/>
            <ac:spMk id="6" creationId="{F9045EF4-DBCA-F455-CD6D-896F319BF4B3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7" creationId="{82ED6086-D050-2D7C-1C2C-0448496E8282}"/>
          </ac:spMkLst>
        </pc:spChg>
        <pc:spChg chg="mod">
          <ac:chgData name="Costache, Mihaela (Miha)" userId="7a5a59cf-97f5-4f36-bf8b-1dcff04d4699" providerId="ADAL" clId="{76B0D560-61E3-5EE9-8C56-6257E6E60450}" dt="2025-11-13T10:30:36.992" v="1417" actId="1035"/>
          <ac:spMkLst>
            <pc:docMk/>
            <pc:sldMk cId="2811585508" sldId="2147483636"/>
            <ac:spMk id="8" creationId="{DEF826A8-C588-3091-4468-3766CD38C5C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9" creationId="{1ACC7340-F6BD-0845-14D8-DC7B011FF76E}"/>
          </ac:spMkLst>
        </pc:spChg>
        <pc:spChg chg="add del mod">
          <ac:chgData name="Costache, Mihaela (Miha)" userId="7a5a59cf-97f5-4f36-bf8b-1dcff04d4699" providerId="ADAL" clId="{76B0D560-61E3-5EE9-8C56-6257E6E60450}" dt="2025-11-13T08:23:59.335" v="777" actId="478"/>
          <ac:spMkLst>
            <pc:docMk/>
            <pc:sldMk cId="2811585508" sldId="2147483636"/>
            <ac:spMk id="11" creationId="{C5B3FEA2-3CBF-7A66-FB5B-B7AC98F1289E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12" creationId="{FA021029-9151-B298-C912-9BE6A9609371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13" creationId="{E94ACE5F-DB04-1BE5-FDE1-971005B2B04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15" creationId="{34B6C16B-C58C-1631-C6A2-94AC3B983BE9}"/>
          </ac:spMkLst>
        </pc:spChg>
        <pc:spChg chg="del mod">
          <ac:chgData name="Costache, Mihaela (Miha)" userId="7a5a59cf-97f5-4f36-bf8b-1dcff04d4699" providerId="ADAL" clId="{76B0D560-61E3-5EE9-8C56-6257E6E60450}" dt="2025-11-13T08:57:33.530" v="875" actId="478"/>
          <ac:spMkLst>
            <pc:docMk/>
            <pc:sldMk cId="2811585508" sldId="2147483636"/>
            <ac:spMk id="16" creationId="{BD39DCA5-FB60-5735-B7A7-57C9CB0484E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29" creationId="{EEFC0DA8-7A8F-220C-E904-5B0FF93C0A04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811585508" sldId="2147483636"/>
            <ac:spMk id="33" creationId="{35FD676F-25F9-34D5-6C6A-6CE2D71F52F6}"/>
          </ac:spMkLst>
        </pc:spChg>
        <pc:picChg chg="mod">
          <ac:chgData name="Costache, Mihaela (Miha)" userId="7a5a59cf-97f5-4f36-bf8b-1dcff04d4699" providerId="ADAL" clId="{76B0D560-61E3-5EE9-8C56-6257E6E60450}" dt="2025-11-13T08:58:35.262" v="898" actId="1036"/>
          <ac:picMkLst>
            <pc:docMk/>
            <pc:sldMk cId="2811585508" sldId="2147483636"/>
            <ac:picMk id="3" creationId="{2D2F452C-C094-7769-9502-2C9B7CFC62A5}"/>
          </ac:picMkLst>
        </pc:picChg>
        <pc:picChg chg="mod">
          <ac:chgData name="Costache, Mihaela (Miha)" userId="7a5a59cf-97f5-4f36-bf8b-1dcff04d4699" providerId="ADAL" clId="{76B0D560-61E3-5EE9-8C56-6257E6E60450}" dt="2025-11-13T08:58:35.262" v="898" actId="1036"/>
          <ac:picMkLst>
            <pc:docMk/>
            <pc:sldMk cId="2811585508" sldId="2147483636"/>
            <ac:picMk id="18" creationId="{23E8BEF6-6A45-914A-819C-08A7B61468C7}"/>
          </ac:picMkLst>
        </pc:picChg>
        <pc:picChg chg="mod">
          <ac:chgData name="Costache, Mihaela (Miha)" userId="7a5a59cf-97f5-4f36-bf8b-1dcff04d4699" providerId="ADAL" clId="{76B0D560-61E3-5EE9-8C56-6257E6E60450}" dt="2025-11-13T08:58:35.262" v="898" actId="1036"/>
          <ac:picMkLst>
            <pc:docMk/>
            <pc:sldMk cId="2811585508" sldId="2147483636"/>
            <ac:picMk id="20" creationId="{DB08B511-E604-4E4F-216B-BC0AB7F0F86E}"/>
          </ac:picMkLst>
        </pc:picChg>
      </pc:sldChg>
      <pc:sldChg chg="modSp mod">
        <pc:chgData name="Costache, Mihaela (Miha)" userId="7a5a59cf-97f5-4f36-bf8b-1dcff04d4699" providerId="ADAL" clId="{76B0D560-61E3-5EE9-8C56-6257E6E60450}" dt="2025-11-13T10:40:08.609" v="1504"/>
        <pc:sldMkLst>
          <pc:docMk/>
          <pc:sldMk cId="269238786" sldId="2147483637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69238786" sldId="2147483637"/>
            <ac:spMk id="2" creationId="{662CA77B-743B-D0C6-EADF-CE06892E2008}"/>
          </ac:spMkLst>
        </pc:spChg>
        <pc:spChg chg="mod">
          <ac:chgData name="Costache, Mihaela (Miha)" userId="7a5a59cf-97f5-4f36-bf8b-1dcff04d4699" providerId="ADAL" clId="{76B0D560-61E3-5EE9-8C56-6257E6E60450}" dt="2025-11-13T10:35:11.978" v="1476" actId="1076"/>
          <ac:spMkLst>
            <pc:docMk/>
            <pc:sldMk cId="269238786" sldId="2147483637"/>
            <ac:spMk id="5" creationId="{A923F1F2-8D16-9059-45FF-80CDD033325B}"/>
          </ac:spMkLst>
        </pc:spChg>
        <pc:spChg chg="mod">
          <ac:chgData name="Costache, Mihaela (Miha)" userId="7a5a59cf-97f5-4f36-bf8b-1dcff04d4699" providerId="ADAL" clId="{76B0D560-61E3-5EE9-8C56-6257E6E60450}" dt="2025-11-13T10:34:49.871" v="1471" actId="1076"/>
          <ac:spMkLst>
            <pc:docMk/>
            <pc:sldMk cId="269238786" sldId="2147483637"/>
            <ac:spMk id="7" creationId="{14E67D8A-A200-E61E-C9EE-C9FCA6672068}"/>
          </ac:spMkLst>
        </pc:spChg>
        <pc:graphicFrameChg chg="mod">
          <ac:chgData name="Costache, Mihaela (Miha)" userId="7a5a59cf-97f5-4f36-bf8b-1dcff04d4699" providerId="ADAL" clId="{76B0D560-61E3-5EE9-8C56-6257E6E60450}" dt="2025-11-13T10:40:08.609" v="1504"/>
          <ac:graphicFrameMkLst>
            <pc:docMk/>
            <pc:sldMk cId="269238786" sldId="2147483637"/>
            <ac:graphicFrameMk id="6" creationId="{CA926F1E-EC78-C0C5-1CD2-D8BDA1020173}"/>
          </ac:graphicFrameMkLst>
        </pc:graphicFrameChg>
        <pc:picChg chg="mod modCrop">
          <ac:chgData name="Costache, Mihaela (Miha)" userId="7a5a59cf-97f5-4f36-bf8b-1dcff04d4699" providerId="ADAL" clId="{76B0D560-61E3-5EE9-8C56-6257E6E60450}" dt="2025-11-13T10:35:38.289" v="1479" actId="732"/>
          <ac:picMkLst>
            <pc:docMk/>
            <pc:sldMk cId="269238786" sldId="2147483637"/>
            <ac:picMk id="8" creationId="{8E721E52-1A33-F869-9E3D-D5A3883D12CA}"/>
          </ac:picMkLst>
        </pc:picChg>
      </pc:sldChg>
      <pc:sldChg chg="addSp modSp new del mod">
        <pc:chgData name="Costache, Mihaela (Miha)" userId="7a5a59cf-97f5-4f36-bf8b-1dcff04d4699" providerId="ADAL" clId="{76B0D560-61E3-5EE9-8C56-6257E6E60450}" dt="2025-11-13T09:54:49.785" v="1201" actId="680"/>
        <pc:sldMkLst>
          <pc:docMk/>
          <pc:sldMk cId="965145840" sldId="2147483638"/>
        </pc:sldMkLst>
        <pc:spChg chg="add mod">
          <ac:chgData name="Costache, Mihaela (Miha)" userId="7a5a59cf-97f5-4f36-bf8b-1dcff04d4699" providerId="ADAL" clId="{76B0D560-61E3-5EE9-8C56-6257E6E60450}" dt="2025-11-13T09:54:47.235" v="1199" actId="1076"/>
          <ac:spMkLst>
            <pc:docMk/>
            <pc:sldMk cId="965145840" sldId="2147483638"/>
            <ac:spMk id="3" creationId="{208ED4E7-7D49-0B76-1204-48FE413A2251}"/>
          </ac:spMkLst>
        </pc:spChg>
        <pc:spChg chg="mod">
          <ac:chgData name="Costache, Mihaela (Miha)" userId="7a5a59cf-97f5-4f36-bf8b-1dcff04d4699" providerId="ADAL" clId="{76B0D560-61E3-5EE9-8C56-6257E6E60450}" dt="2025-11-13T09:54:47.235" v="1199" actId="1076"/>
          <ac:spMkLst>
            <pc:docMk/>
            <pc:sldMk cId="965145840" sldId="2147483638"/>
            <ac:spMk id="4" creationId="{640D34B9-08C2-17F9-4F56-1482131EF6C9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7" creationId="{8116B4B7-68F3-B932-F51C-84E2A5EFA945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12" creationId="{C6D8C85F-D034-D2BC-E155-D3A990D772E9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14" creationId="{A3A3BBB0-3C60-7C3B-9C47-A197D6F6E079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16" creationId="{A9408998-5C0F-F165-8326-00441740DA4C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17" creationId="{68B486B4-B989-FD10-4B30-FD379C7A6C44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18" creationId="{EFE53D44-8210-B09D-3DC1-4D3DF69D401C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21" creationId="{9F5D98C0-7B25-DC92-66F6-96986C4595EC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22" creationId="{6C9D19C2-CB7E-4704-883F-9C40C8C1EE9A}"/>
          </ac:spMkLst>
        </pc:spChg>
        <pc:spChg chg="mod">
          <ac:chgData name="Costache, Mihaela (Miha)" userId="7a5a59cf-97f5-4f36-bf8b-1dcff04d4699" providerId="ADAL" clId="{76B0D560-61E3-5EE9-8C56-6257E6E60450}" dt="2025-11-13T09:54:21.883" v="1195"/>
          <ac:spMkLst>
            <pc:docMk/>
            <pc:sldMk cId="965145840" sldId="2147483638"/>
            <ac:spMk id="24" creationId="{CE6966D4-FDC6-3C99-8598-1B86F6930A1D}"/>
          </ac:spMkLst>
        </pc:spChg>
        <pc:grpChg chg="mod">
          <ac:chgData name="Costache, Mihaela (Miha)" userId="7a5a59cf-97f5-4f36-bf8b-1dcff04d4699" providerId="ADAL" clId="{76B0D560-61E3-5EE9-8C56-6257E6E60450}" dt="2025-11-13T09:54:47.235" v="1199" actId="1076"/>
          <ac:grpSpMkLst>
            <pc:docMk/>
            <pc:sldMk cId="965145840" sldId="2147483638"/>
            <ac:grpSpMk id="5" creationId="{7CB53FF2-1CE8-A81D-E568-BD0ABB5434F1}"/>
          </ac:grpSpMkLst>
        </pc:grpChg>
      </pc:sldChg>
      <pc:sldChg chg="addSp modSp new mod">
        <pc:chgData name="Costache, Mihaela (Miha)" userId="7a5a59cf-97f5-4f36-bf8b-1dcff04d4699" providerId="ADAL" clId="{76B0D560-61E3-5EE9-8C56-6257E6E60450}" dt="2025-11-13T10:40:08.609" v="1504"/>
        <pc:sldMkLst>
          <pc:docMk/>
          <pc:sldMk cId="2788203988" sldId="2147483638"/>
        </pc:sld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2" creationId="{DBB806EB-7E37-A5EF-1B11-22CAAEBB5B0F}"/>
          </ac:spMkLst>
        </pc:spChg>
        <pc:spChg chg="add mod">
          <ac:chgData name="Costache, Mihaela (Miha)" userId="7a5a59cf-97f5-4f36-bf8b-1dcff04d4699" providerId="ADAL" clId="{76B0D560-61E3-5EE9-8C56-6257E6E60450}" dt="2025-11-13T10:04:10.714" v="1254" actId="164"/>
          <ac:spMkLst>
            <pc:docMk/>
            <pc:sldMk cId="2788203988" sldId="2147483638"/>
            <ac:spMk id="3" creationId="{143DB562-EECD-D77C-EB7A-F377885B12A4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4" creationId="{A430776A-0AC0-DA93-9FE7-7EB3F8482A6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7" creationId="{8B708B50-2B83-32E3-3E7D-7D4F25B2030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8" creationId="{C2BDA9C7-D355-27E3-181B-37F34E62E4DC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11" creationId="{569AF4DB-82C8-7C8C-9CFE-D3E1C38A6F87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14" creationId="{E93DE7EA-B028-6B9F-5D5F-3C2227F2DE69}"/>
          </ac:spMkLst>
        </pc:spChg>
        <pc:spChg chg="mod">
          <ac:chgData name="Costache, Mihaela (Miha)" userId="7a5a59cf-97f5-4f36-bf8b-1dcff04d4699" providerId="ADAL" clId="{76B0D560-61E3-5EE9-8C56-6257E6E60450}" dt="2025-11-13T10:02:12.434" v="1204"/>
          <ac:spMkLst>
            <pc:docMk/>
            <pc:sldMk cId="2788203988" sldId="2147483638"/>
            <ac:spMk id="15" creationId="{C69888B1-E6C8-1D84-EA0B-92455BF7BF51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17" creationId="{BCC7E170-5AFE-1291-4657-6D655A1E286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22" creationId="{20565783-D195-1729-57D2-AA7555782275}"/>
          </ac:spMkLst>
        </pc:spChg>
        <pc:spChg chg="mod">
          <ac:chgData name="Costache, Mihaela (Miha)" userId="7a5a59cf-97f5-4f36-bf8b-1dcff04d4699" providerId="ADAL" clId="{76B0D560-61E3-5EE9-8C56-6257E6E60450}" dt="2025-11-13T10:02:12.434" v="1204"/>
          <ac:spMkLst>
            <pc:docMk/>
            <pc:sldMk cId="2788203988" sldId="2147483638"/>
            <ac:spMk id="24" creationId="{689BFE70-95DE-4274-1260-656AC00EAF6F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28" creationId="{EC045988-0B9C-0EAD-77A8-8893E39CB8CE}"/>
          </ac:spMkLst>
        </pc:spChg>
        <pc:spChg chg="add mod">
          <ac:chgData name="Costache, Mihaela (Miha)" userId="7a5a59cf-97f5-4f36-bf8b-1dcff04d4699" providerId="ADAL" clId="{76B0D560-61E3-5EE9-8C56-6257E6E60450}" dt="2025-11-13T10:27:56.784" v="1359" actId="1076"/>
          <ac:spMkLst>
            <pc:docMk/>
            <pc:sldMk cId="2788203988" sldId="2147483638"/>
            <ac:spMk id="32" creationId="{60489CC5-7399-8C23-A156-981DAEFCB0BE}"/>
          </ac:spMkLst>
        </pc:spChg>
        <pc:spChg chg="add mod">
          <ac:chgData name="Costache, Mihaela (Miha)" userId="7a5a59cf-97f5-4f36-bf8b-1dcff04d4699" providerId="ADAL" clId="{76B0D560-61E3-5EE9-8C56-6257E6E60450}" dt="2025-11-13T10:40:08.609" v="1504"/>
          <ac:spMkLst>
            <pc:docMk/>
            <pc:sldMk cId="2788203988" sldId="2147483638"/>
            <ac:spMk id="33" creationId="{D86877DB-C421-9D8C-4750-94B599E90345}"/>
          </ac:spMkLst>
        </pc:spChg>
        <pc:grpChg chg="mod">
          <ac:chgData name="Costache, Mihaela (Miha)" userId="7a5a59cf-97f5-4f36-bf8b-1dcff04d4699" providerId="ADAL" clId="{76B0D560-61E3-5EE9-8C56-6257E6E60450}" dt="2025-11-13T10:04:10.714" v="1254" actId="164"/>
          <ac:grpSpMkLst>
            <pc:docMk/>
            <pc:sldMk cId="2788203988" sldId="2147483638"/>
            <ac:grpSpMk id="5" creationId="{79B28CD6-C55B-2F16-0A6E-3113B0588E39}"/>
          </ac:grpSpMkLst>
        </pc:grpChg>
        <pc:grpChg chg="add mod">
          <ac:chgData name="Costache, Mihaela (Miha)" userId="7a5a59cf-97f5-4f36-bf8b-1dcff04d4699" providerId="ADAL" clId="{76B0D560-61E3-5EE9-8C56-6257E6E60450}" dt="2025-11-13T10:25:46.519" v="1296" actId="1076"/>
          <ac:grpSpMkLst>
            <pc:docMk/>
            <pc:sldMk cId="2788203988" sldId="2147483638"/>
            <ac:grpSpMk id="31" creationId="{18AD89F4-90EF-1847-8E5F-A53DA38BEF2B}"/>
          </ac:grpSpMkLst>
        </pc:grpChg>
        <pc:cxnChg chg="add mod">
          <ac:chgData name="Costache, Mihaela (Miha)" userId="7a5a59cf-97f5-4f36-bf8b-1dcff04d4699" providerId="ADAL" clId="{76B0D560-61E3-5EE9-8C56-6257E6E60450}" dt="2025-11-13T10:04:24.506" v="1257" actId="1076"/>
          <ac:cxnSpMkLst>
            <pc:docMk/>
            <pc:sldMk cId="2788203988" sldId="2147483638"/>
            <ac:cxnSpMk id="30" creationId="{E6EA7F18-8B12-0CE7-54D6-3675FC72CF5A}"/>
          </ac:cxnSpMkLst>
        </pc:cxnChg>
      </pc:sldChg>
      <pc:sldMasterChg chg="modSp modSldLayout">
        <pc:chgData name="Costache, Mihaela (Miha)" userId="7a5a59cf-97f5-4f36-bf8b-1dcff04d4699" providerId="ADAL" clId="{76B0D560-61E3-5EE9-8C56-6257E6E60450}" dt="2025-11-13T10:40:08.609" v="1504"/>
        <pc:sldMasterMkLst>
          <pc:docMk/>
          <pc:sldMasterMk cId="1814030212" sldId="2147483757"/>
        </pc:sldMasterMkLst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asterMk cId="1814030212" sldId="2147483757"/>
            <ac:spMk id="3" creationId="{43AB30FB-4B8F-4B77-AC4C-E2E31B21423D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asterMk cId="1814030212" sldId="2147483757"/>
            <ac:spMk id="6" creationId="{7B471868-C853-40C5-8660-D23F908B5BC5}"/>
          </ac:spMkLst>
        </pc:spChg>
        <pc:spChg chg="mod">
          <ac:chgData name="Costache, Mihaela (Miha)" userId="7a5a59cf-97f5-4f36-bf8b-1dcff04d4699" providerId="ADAL" clId="{76B0D560-61E3-5EE9-8C56-6257E6E60450}" dt="2025-11-13T10:40:08.609" v="1504"/>
          <ac:spMkLst>
            <pc:docMk/>
            <pc:sldMasterMk cId="1814030212" sldId="2147483757"/>
            <ac:spMk id="36" creationId="{D7686E33-694A-4833-A47B-FAB757D25342}"/>
          </ac:spMkLst>
        </pc:sp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96583654" sldId="214748370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3" creationId="{3D7C3F44-5413-48F1-ACBF-6BEAE9CA81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4" creationId="{F3C79F04-7833-4562-B8D1-AC0341D757F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7" creationId="{7FEED254-594A-4DEF-B14F-BB320B35EAD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9" creationId="{D14B37AE-D376-4803-909C-43B768E77C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10" creationId="{CC3E13D1-E94F-4B4D-83D6-B5F06339C4E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11" creationId="{80A7BAA9-D280-435E-831E-F80E2AAA1076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6583654" sldId="2147483707"/>
              <ac:spMk id="12" creationId="{F8319823-0FB9-4E89-AEE4-CE31D964944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266732449" sldId="214748370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66732449" sldId="2147483709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66732449" sldId="2147483709"/>
              <ac:spMk id="6" creationId="{7C9446BA-0FD3-4FFF-B220-7298D3F88A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66732449" sldId="2147483709"/>
              <ac:spMk id="11" creationId="{9AAC5B92-BD5C-40B8-8837-AA1A4971E6F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283408342" sldId="214748371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6" creationId="{7C9446BA-0FD3-4FFF-B220-7298D3F88A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8" creationId="{80D7819A-630E-44DC-929F-93349077483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9" creationId="{86C7584E-D951-44B3-B6A7-50BBD18EEA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10" creationId="{2B80078C-A569-4E2A-801C-5381A518F10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11" creationId="{9AAC5B92-BD5C-40B8-8837-AA1A4971E6F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83408342" sldId="2147483710"/>
              <ac:spMk id="12" creationId="{83DF5146-688C-4FB5-8042-A8DDBF6B6224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644854254" sldId="214748371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644854254" sldId="2147483711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644854254" sldId="2147483711"/>
              <ac:spMk id="6" creationId="{7C9446BA-0FD3-4FFF-B220-7298D3F88A4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934420260" sldId="214748371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934420260" sldId="2147483712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934420260" sldId="2147483712"/>
              <ac:spMk id="6" creationId="{7C9446BA-0FD3-4FFF-B220-7298D3F88A4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145138878" sldId="214748371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45138878" sldId="2147483714"/>
              <ac:spMk id="4" creationId="{2C6C28DD-52A5-1EA9-EBED-4DC5C7301A9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45138878" sldId="2147483714"/>
              <ac:spMk id="6" creationId="{137A6FEB-0F20-4122-83B7-A3A8BF9EA12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58043299" sldId="214748371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58043299" sldId="2147483715"/>
              <ac:spMk id="3" creationId="{21F49FCE-4C89-FFF8-6E21-057063A12DB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58043299" sldId="2147483715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58043299" sldId="2147483715"/>
              <ac:spMk id="7" creationId="{1C99F7BE-26E0-43EC-B648-2436C3A3F96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307745274" sldId="214748371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07745274" sldId="2147483716"/>
              <ac:spMk id="3" creationId="{84001AD2-B70A-803B-F38F-A2CEB655958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07745274" sldId="2147483716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07745274" sldId="2147483716"/>
              <ac:spMk id="7" creationId="{1C99F7BE-26E0-43EC-B648-2436C3A3F96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571148580" sldId="214748371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71148580" sldId="2147483717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71148580" sldId="2147483717"/>
              <ac:spMk id="5" creationId="{B71B9B97-F708-4AB5-8E9E-1448408B5AE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71148580" sldId="2147483717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71148580" sldId="2147483717"/>
              <ac:spMk id="8" creationId="{50F7696B-AED7-4649-B1BE-83104AF7ADD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755043724" sldId="214748371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55043724" sldId="2147483718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55043724" sldId="2147483718"/>
              <ac:spMk id="5" creationId="{74E0A2D0-A954-32E1-F16A-BBCF551760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55043724" sldId="2147483718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55043724" sldId="2147483718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55043724" sldId="2147483718"/>
              <ac:spMk id="11" creationId="{4D0DF29E-4A6C-4505-AA49-6B64388E1397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382579340" sldId="214748371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82579340" sldId="2147483719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82579340" sldId="2147483719"/>
              <ac:spMk id="5" creationId="{2C6AC0D4-64E0-DCAE-C846-782295A1063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82579340" sldId="214748371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82579340" sldId="2147483719"/>
              <ac:spMk id="7" creationId="{1CF9CDEF-0719-484F-8C20-787B9E5CF79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382579340" sldId="2147483719"/>
              <ac:spMk id="10" creationId="{4064076E-2966-4D1B-8F30-6885CA148AF4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099017131" sldId="214748372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4" creationId="{2A28D2D3-CBC3-6BE1-577C-6ED17B537BE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7" creationId="{7B930328-96E9-4581-AB46-BC006A6DBD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11" creationId="{A25C2411-148E-4C87-B0DD-41761ACB22C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99017131" sldId="2147483720"/>
              <ac:spMk id="14" creationId="{55B90B35-A8E2-43F4-9EE2-F7A3C794C84F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820886843" sldId="214748372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9" creationId="{1CCFED35-5664-E919-8476-2EB15BB4932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20886843" sldId="2147483721"/>
              <ac:spMk id="13" creationId="{C697456D-818A-4FA7-9322-10ECC2C0575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304043952" sldId="214748372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5" creationId="{C9A28545-AE30-F96A-80FC-8BEEE79458B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7" creationId="{0DE1C42F-82A3-49D7-9B58-607C4E4D581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11" creationId="{622D68AC-932E-4B0C-90A5-71EE23ACE46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12" creationId="{D1A7CD19-76F6-4CBE-B54D-93302EA79B1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04043952" sldId="2147483722"/>
              <ac:spMk id="15" creationId="{4CAE0181-37B5-43E5-A82A-CDD053C29C6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46811690" sldId="214748372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7" creationId="{422153B4-A311-6DA3-F940-051F36C8B17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13" creationId="{DC3999C7-E763-4050-BC0E-E9090F84780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6811690" sldId="2147483723"/>
              <ac:spMk id="17" creationId="{E90AB464-576C-4A33-966B-DD17FE4C4181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712976405" sldId="214748372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5" creationId="{EFD6F15E-E3C0-FBA2-6148-87861E26DB8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9" creationId="{5632F1BF-A417-46F5-A2B0-EE338C9464D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12" creationId="{B664EC32-C8D7-4696-8955-D27860B116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14" creationId="{7BC96BB2-8963-4074-99F2-2BEB65D70F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15" creationId="{3FAAAD28-DA69-4AAE-9FAD-9F27417572F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2976405" sldId="2147483724"/>
              <ac:spMk id="18" creationId="{230F8805-7C7A-42C7-AA78-A838FC7ADE6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054481884" sldId="214748372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5" creationId="{29EE3861-BD72-E636-CA60-2B7C23B48176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54481884" sldId="2147483725"/>
              <ac:spMk id="13" creationId="{DFA7B3DE-C704-4D6A-9148-C2EE51AB9559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048674235" sldId="214748372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8674235" sldId="2147483726"/>
              <ac:spMk id="4" creationId="{25E31E88-DE4A-4C4C-D690-B8F3726F361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8674235" sldId="2147483726"/>
              <ac:spMk id="5" creationId="{D0D08997-B423-407B-B60D-8D5DFC3705F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8674235" sldId="2147483726"/>
              <ac:spMk id="8" creationId="{9D64B098-3BC3-46B7-9278-55E699AD37C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182528932" sldId="214748372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82528932" sldId="2147483727"/>
              <ac:spMk id="3" creationId="{88D4A098-62B3-9F5F-A13A-AD0E7BE7EE0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82528932" sldId="2147483727"/>
              <ac:spMk id="4" creationId="{C0C549D9-CB0B-4053-B4B8-18A9A6E347D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82528932" sldId="2147483727"/>
              <ac:spMk id="7" creationId="{8895A6AF-DA14-4AA2-80B8-C7ACE12804E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858340172" sldId="214748372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858340172" sldId="2147483728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858340172" sldId="2147483728"/>
              <ac:spMk id="5" creationId="{04E7356E-8208-2BC5-42E6-5A3564A4F5A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858340172" sldId="2147483728"/>
              <ac:spMk id="6" creationId="{137A6FEB-0F20-4122-83B7-A3A8BF9EA12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780903063" sldId="214748372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80903063" sldId="2147483729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80903063" sldId="2147483729"/>
              <ac:spMk id="5" creationId="{DDBC21D2-18DF-4CF4-3AC8-BDC791A9DF1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80903063" sldId="214748372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80903063" sldId="2147483729"/>
              <ac:spMk id="8" creationId="{081AB863-6602-411C-B695-D0F3F747308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086989025" sldId="214748373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86989025" sldId="2147483730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86989025" sldId="2147483730"/>
              <ac:spMk id="5" creationId="{31D257F5-88A9-75FF-2809-E32083EC930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86989025" sldId="2147483730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86989025" sldId="2147483730"/>
              <ac:spMk id="7" creationId="{1CF9CDEF-0719-484F-8C20-787B9E5CF79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653973044" sldId="214748373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4" creationId="{4295C290-4BFD-A2B8-7296-43C1360E8466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7" creationId="{7B930328-96E9-4581-AB46-BC006A6DBD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53973044" sldId="2147483731"/>
              <ac:spMk id="11" creationId="{A25C2411-148E-4C87-B0DD-41761ACB22C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127169504" sldId="214748373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3" creationId="{3D7C3F44-5413-48F1-ACBF-6BEAE9CA81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4" creationId="{F3C79F04-7833-4562-B8D1-AC0341D757F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7" creationId="{7FEED254-594A-4DEF-B14F-BB320B35EAD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9" creationId="{D14B37AE-D376-4803-909C-43B768E77C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10" creationId="{CC3E13D1-E94F-4B4D-83D6-B5F06339C4E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11" creationId="{80A7BAA9-D280-435E-831E-F80E2AAA1076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27169504" sldId="2147483732"/>
              <ac:spMk id="12" creationId="{F8319823-0FB9-4E89-AEE4-CE31D964944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477125350" sldId="214748373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5" creationId="{2EEF05D2-3D4F-6417-7077-C1F27E36E3F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7" creationId="{0DE1C42F-82A3-49D7-9B58-607C4E4D581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11" creationId="{622D68AC-932E-4B0C-90A5-71EE23ACE46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77125350" sldId="2147483733"/>
              <ac:spMk id="12" creationId="{D1A7CD19-76F6-4CBE-B54D-93302EA79B1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504130163" sldId="214748373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04130163" sldId="2147483734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04130163" sldId="2147483734"/>
              <ac:spMk id="6" creationId="{7C9446BA-0FD3-4FFF-B220-7298D3F88A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504130163" sldId="2147483734"/>
              <ac:spMk id="11" creationId="{9AAC5B92-BD5C-40B8-8837-AA1A4971E6F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856349133" sldId="214748373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6" creationId="{7C9446BA-0FD3-4FFF-B220-7298D3F88A4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8" creationId="{80D7819A-630E-44DC-929F-93349077483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9" creationId="{86C7584E-D951-44B3-B6A7-50BBD18EEA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10" creationId="{2B80078C-A569-4E2A-801C-5381A518F10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11" creationId="{9AAC5B92-BD5C-40B8-8837-AA1A4971E6F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56349133" sldId="2147483735"/>
              <ac:spMk id="12" creationId="{83DF5146-688C-4FB5-8042-A8DDBF6B6224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041764923" sldId="214748373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5" creationId="{EA0C57C2-AFF5-3C5A-4768-58C00647AB7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41764923" sldId="2147483736"/>
              <ac:spMk id="10" creationId="{DA9B1BC2-D1BF-4967-9DEB-0E218096605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818914774" sldId="214748373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818914774" sldId="2147483737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818914774" sldId="2147483737"/>
              <ac:spMk id="6" creationId="{7C9446BA-0FD3-4FFF-B220-7298D3F88A4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107317917" sldId="214748373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07317917" sldId="2147483738"/>
              <ac:spMk id="4" creationId="{2E6F90BA-6C7B-510E-F8F0-941F30711DE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07317917" sldId="2147483738"/>
              <ac:spMk id="5" creationId="{D0D08997-B423-407B-B60D-8D5DFC3705FE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717782978" sldId="214748373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717782978" sldId="2147483739"/>
              <ac:spMk id="3" creationId="{C7EBDD15-27E1-8FE8-1255-B037495A2CF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250332828" sldId="214748375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250332828" sldId="2147483751"/>
              <ac:spMk id="5" creationId="{D0D08997-B423-407B-B60D-8D5DFC3705F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250332828" sldId="2147483751"/>
              <ac:spMk id="8" creationId="{9D64B098-3BC3-46B7-9278-55E699AD37C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069858295" sldId="214748375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69858295" sldId="2147483756"/>
              <ac:spMk id="5" creationId="{D0D08997-B423-407B-B60D-8D5DFC3705F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69858295" sldId="2147483756"/>
              <ac:spMk id="6" creationId="{1AC9AF1B-77C9-4194-9346-57C0BA353963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974473390" sldId="214748375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974473390" sldId="2147483758"/>
              <ac:spMk id="3" creationId="{3D7C3F44-5413-48F1-ACBF-6BEAE9CA81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974473390" sldId="2147483758"/>
              <ac:spMk id="4" creationId="{F3C79F04-7833-4562-B8D1-AC0341D757F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761987506" sldId="214748375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61987506" sldId="2147483759"/>
              <ac:spMk id="3" creationId="{3D7C3F44-5413-48F1-ACBF-6BEAE9CA81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61987506" sldId="2147483759"/>
              <ac:spMk id="4" creationId="{F3C79F04-7833-4562-B8D1-AC0341D757F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652948508" sldId="214748376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652948508" sldId="2147483760"/>
              <ac:spMk id="3" creationId="{3D7C3F44-5413-48F1-ACBF-6BEAE9CA81A1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652948508" sldId="2147483760"/>
              <ac:spMk id="4" creationId="{F3C79F04-7833-4562-B8D1-AC0341D757F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973898459" sldId="214748376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3898459" sldId="2147483762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3898459" sldId="2147483762"/>
              <ac:spMk id="6" creationId="{7C9446BA-0FD3-4FFF-B220-7298D3F88A4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029363428" sldId="214748376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29363428" sldId="2147483765"/>
              <ac:spMk id="3" creationId="{AA64BA69-0C36-44D3-95D1-C8122369423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029363428" sldId="2147483765"/>
              <ac:spMk id="6" creationId="{7C9446BA-0FD3-4FFF-B220-7298D3F88A4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885085658" sldId="214748376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85085658" sldId="2147483767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85085658" sldId="2147483767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85085658" sldId="2147483767"/>
              <ac:spMk id="9" creationId="{C7FFCE7A-E13E-0181-AFC4-117F32267377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920825144" sldId="214748376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20825144" sldId="2147483768"/>
              <ac:spMk id="4" creationId="{1E95A2A0-6EFD-3AA5-0909-66727981214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20825144" sldId="2147483768"/>
              <ac:spMk id="6" creationId="{137A6FEB-0F20-4122-83B7-A3A8BF9EA12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70365929" sldId="214748376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0365929" sldId="2147483769"/>
              <ac:spMk id="4" creationId="{80F3F789-4C7F-EA8A-A196-CFF6B44237E4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0365929" sldId="214748376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0365929" sldId="2147483769"/>
              <ac:spMk id="7" creationId="{1C99F7BE-26E0-43EC-B648-2436C3A3F96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090830231" sldId="214748377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090830231" sldId="2147483770"/>
              <ac:spMk id="4" creationId="{9D43200D-7358-C634-D65E-917C8C75741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090830231" sldId="2147483770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090830231" sldId="2147483770"/>
              <ac:spMk id="7" creationId="{1C99F7BE-26E0-43EC-B648-2436C3A3F96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060308917" sldId="214748377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60308917" sldId="2147483771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60308917" sldId="2147483771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060308917" sldId="2147483771"/>
              <ac:spMk id="8" creationId="{50F7696B-AED7-4649-B1BE-83104AF7ADD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450213347" sldId="214748377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50213347" sldId="2147483772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50213347" sldId="2147483772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50213347" sldId="2147483772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450213347" sldId="2147483772"/>
              <ac:spMk id="11" creationId="{4D0DF29E-4A6C-4505-AA49-6B64388E1397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571624620" sldId="214748377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71624620" sldId="2147483773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71624620" sldId="2147483773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71624620" sldId="2147483773"/>
              <ac:spMk id="7" creationId="{1CF9CDEF-0719-484F-8C20-787B9E5CF79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71624620" sldId="2147483773"/>
              <ac:spMk id="10" creationId="{4064076E-2966-4D1B-8F30-6885CA148AF4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534818976" sldId="214748377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7" creationId="{7B930328-96E9-4581-AB46-BC006A6DBD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11" creationId="{A25C2411-148E-4C87-B0DD-41761ACB22C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534818976" sldId="2147483774"/>
              <ac:spMk id="14" creationId="{55B90B35-A8E2-43F4-9EE2-F7A3C794C84F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275749869" sldId="214748377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75749869" sldId="2147483775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75749869" sldId="2147483775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75749869" sldId="2147483775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75749869" sldId="2147483775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275749869" sldId="2147483775"/>
              <ac:spMk id="13" creationId="{C697456D-818A-4FA7-9322-10ECC2C0575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915973863" sldId="214748377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7" creationId="{0DE1C42F-82A3-49D7-9B58-607C4E4D581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11" creationId="{622D68AC-932E-4B0C-90A5-71EE23ACE46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12" creationId="{D1A7CD19-76F6-4CBE-B54D-93302EA79B1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15973863" sldId="2147483776"/>
              <ac:spMk id="15" creationId="{4CAE0181-37B5-43E5-A82A-CDD053C29C6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242967240" sldId="214748377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13" creationId="{DC3999C7-E763-4050-BC0E-E9090F84780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42967240" sldId="2147483777"/>
              <ac:spMk id="17" creationId="{E90AB464-576C-4A33-966B-DD17FE4C4181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833944278" sldId="214748377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9" creationId="{5632F1BF-A417-46F5-A2B0-EE338C9464D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2" creationId="{B664EC32-C8D7-4696-8955-D27860B116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3" creationId="{DC3999C7-E763-4050-BC0E-E9090F84780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4" creationId="{7BC96BB2-8963-4074-99F2-2BEB65D70F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5" creationId="{3FAAAD28-DA69-4AAE-9FAD-9F27417572F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33944278" sldId="2147483778"/>
              <ac:spMk id="18" creationId="{230F8805-7C7A-42C7-AA78-A838FC7ADE6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955907932" sldId="214748377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955907932" sldId="2147483779"/>
              <ac:spMk id="13" creationId="{DFA7B3DE-C704-4D6A-9148-C2EE51AB9559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375120305" sldId="214748378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375120305" sldId="2147483780"/>
              <ac:spMk id="4" creationId="{1F367859-B975-5A1B-3CE3-0F7D5890D09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375120305" sldId="2147483780"/>
              <ac:spMk id="5" creationId="{D0D08997-B423-407B-B60D-8D5DFC3705FE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375120305" sldId="2147483780"/>
              <ac:spMk id="8" creationId="{9D64B098-3BC3-46B7-9278-55E699AD37C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012332656" sldId="214748378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12332656" sldId="2147483781"/>
              <ac:spMk id="4" creationId="{C0C549D9-CB0B-4053-B4B8-18A9A6E347D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12332656" sldId="2147483781"/>
              <ac:spMk id="7" creationId="{8895A6AF-DA14-4AA2-80B8-C7ACE12804E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05545130" sldId="214748378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05545130" sldId="2147483782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05545130" sldId="2147483782"/>
              <ac:spMk id="6" creationId="{137A6FEB-0F20-4122-83B7-A3A8BF9EA12C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110439898" sldId="214748378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10439898" sldId="2147483783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10439898" sldId="2147483783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110439898" sldId="2147483783"/>
              <ac:spMk id="8" creationId="{081AB863-6602-411C-B695-D0F3F747308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95888583" sldId="214748378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95888583" sldId="2147483784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95888583" sldId="2147483784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95888583" sldId="2147483784"/>
              <ac:spMk id="7" creationId="{1CF9CDEF-0719-484F-8C20-787B9E5CF79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889575074" sldId="214748378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89575074" sldId="2147483785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89575074" sldId="2147483785"/>
              <ac:spMk id="7" creationId="{7B930328-96E9-4581-AB46-BC006A6DBD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89575074" sldId="2147483785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89575074" sldId="2147483785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89575074" sldId="2147483785"/>
              <ac:spMk id="11" creationId="{A25C2411-148E-4C87-B0DD-41761ACB22CD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83611489" sldId="214748378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3611489" sldId="2147483786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3611489" sldId="2147483786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3611489" sldId="2147483786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3611489" sldId="2147483786"/>
              <ac:spMk id="10" creationId="{DD0612F8-8A1A-4C2A-A93C-441DEDF8E283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898324521" sldId="214748378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7" creationId="{0DE1C42F-82A3-49D7-9B58-607C4E4D581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11" creationId="{622D68AC-932E-4B0C-90A5-71EE23ACE46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98324521" sldId="2147483787"/>
              <ac:spMk id="12" creationId="{D1A7CD19-76F6-4CBE-B54D-93302EA79B1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844469018" sldId="214748378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44469018" sldId="2147483788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44469018" sldId="2147483788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44469018" sldId="2147483788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44469018" sldId="2147483788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844469018" sldId="2147483788"/>
              <ac:spMk id="13" creationId="{DC3999C7-E763-4050-BC0E-E9090F84780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5914307" sldId="214748378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9" creationId="{5632F1BF-A417-46F5-A2B0-EE338C9464D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12" creationId="{B664EC32-C8D7-4696-8955-D27860B116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13" creationId="{DC3999C7-E763-4050-BC0E-E9090F84780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14" creationId="{7BC96BB2-8963-4074-99F2-2BEB65D70F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5914307" sldId="2147483789"/>
              <ac:spMk id="15" creationId="{3FAAAD28-DA69-4AAE-9FAD-9F27417572FF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117072259" sldId="214748379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17072259" sldId="2147483790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17072259" sldId="2147483790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17072259" sldId="2147483790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17072259" sldId="2147483790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17072259" sldId="2147483790"/>
              <ac:spMk id="10" creationId="{DA9B1BC2-D1BF-4967-9DEB-0E218096605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103736433" sldId="214748379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9" creationId="{D39F757B-7399-47EF-8C93-6F4A6410845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0" creationId="{DA9B1BC2-D1BF-4967-9DEB-0E218096605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3" creationId="{F3266E99-6D42-417C-A216-84A2B3B715E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4" creationId="{054589B4-7F05-4C7A-A2EE-48FB0A13E0D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6" creationId="{7401885D-5D62-448F-BC24-63F385C485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7" creationId="{3B3B5C6B-85C1-4026-8D2C-B5C2CE44A5D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18" creationId="{9950548D-185E-4E8F-ACC1-7147F8753B8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103736433" sldId="2147483791"/>
              <ac:spMk id="22" creationId="{565C587C-501C-4648-B14F-7472AC05189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2340062836" sldId="214748379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2340062836" sldId="2147483792"/>
              <ac:spMk id="5" creationId="{D0D08997-B423-407B-B60D-8D5DFC3705FE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289488594" sldId="214748379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289488594" sldId="2147483793"/>
              <ac:spMk id="4" creationId="{C0C549D9-CB0B-4053-B4B8-18A9A6E347D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689570018" sldId="214748379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5" creationId="{C0796EE1-719B-9048-ADC1-F72987C86E84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11" creationId="{4D0DF29E-4A6C-4505-AA49-6B64388E139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689570018" sldId="2147483795"/>
              <ac:spMk id="14" creationId="{532A21BE-C6C4-CA45-8B96-EFA9E69F1808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183929613" sldId="214748379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83929613" sldId="2147483796"/>
              <ac:spMk id="3" creationId="{7A1D8F55-9C72-7EA9-0BA9-1B6C7255CC66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83929613" sldId="2147483796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83929613" sldId="2147483796"/>
              <ac:spMk id="7" creationId="{1CF9CDEF-0719-484F-8C20-787B9E5CF79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183929613" sldId="2147483796"/>
              <ac:spMk id="8" creationId="{BC7FCDE3-C768-4A48-B48A-637D10954E8F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877758856" sldId="2147484618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77758856" sldId="2147484618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77758856" sldId="2147484618"/>
              <ac:spMk id="5" creationId="{27B704A3-0554-A294-F7BE-56B035888AE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77758856" sldId="2147484618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77758856" sldId="2147484618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877758856" sldId="2147484618"/>
              <ac:spMk id="10" creationId="{DD0612F8-8A1A-4C2A-A93C-441DEDF8E283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977154069" sldId="2147484619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5" creationId="{CC04B57B-B3A7-8CFA-55A7-1DFE2900AD3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977154069" sldId="2147484619"/>
              <ac:spMk id="13" creationId="{DC3999C7-E763-4050-BC0E-E9090F84780A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324110460" sldId="2147484620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5" creationId="{C0D8A3FC-4C3D-1D85-B85A-FCE7165B77C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9" creationId="{5632F1BF-A417-46F5-A2B0-EE338C9464D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10" creationId="{DD0612F8-8A1A-4C2A-A93C-441DEDF8E28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12" creationId="{B664EC32-C8D7-4696-8955-D27860B116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13" creationId="{DC3999C7-E763-4050-BC0E-E9090F84780A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14" creationId="{7BC96BB2-8963-4074-99F2-2BEB65D70F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324110460" sldId="2147484620"/>
              <ac:spMk id="15" creationId="{3FAAAD28-DA69-4AAE-9FAD-9F27417572FF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203384188" sldId="2147484621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5" creationId="{75F562EB-719C-3B5B-4EEC-B8988AAA1003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7" creationId="{7257D68F-E97D-4F92-A3D3-D1503CB5DE64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16" creationId="{7401885D-5D62-448F-BC24-63F385C4856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17" creationId="{3B3B5C6B-85C1-4026-8D2C-B5C2CE44A5D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18" creationId="{9950548D-185E-4E8F-ACC1-7147F8753B87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19" creationId="{E621986D-B207-419E-8DB3-B0A4BB23DA35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20" creationId="{4F23C499-BF0D-4A23-948D-7CF2255178FF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21" creationId="{86A17512-7EDD-4F1A-A28C-60AEB3A2B06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22" creationId="{565C587C-501C-4648-B14F-7472AC051890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203384188" sldId="2147484621"/>
              <ac:spMk id="23" creationId="{1EA84FC4-84EB-4A41-846C-1EEBF8A54C8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4285829496" sldId="2147484622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4285829496" sldId="2147484622"/>
              <ac:spMk id="4" creationId="{C0C549D9-CB0B-4053-B4B8-18A9A6E347D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857991558" sldId="2147484623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857991558" sldId="2147484623"/>
              <ac:spMk id="2" creationId="{D3CC8A04-4A2C-F39C-5B4D-665E67113982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456045689" sldId="2147484624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56045689" sldId="2147484624"/>
              <ac:spMk id="3" creationId="{FFCBDF14-DE64-4CDC-8651-F845B5598829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56045689" sldId="2147484624"/>
              <ac:spMk id="6" creationId="{137A6FEB-0F20-4122-83B7-A3A8BF9EA12C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56045689" sldId="2147484624"/>
              <ac:spMk id="8" creationId="{081AB863-6602-411C-B695-D0F3F7473088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56045689" sldId="2147484624"/>
              <ac:spMk id="11" creationId="{4D0DF29E-4A6C-4505-AA49-6B64388E1397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304056570" sldId="2147484625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304056570" sldId="2147484625"/>
              <ac:spMk id="5" creationId="{D0D08997-B423-407B-B60D-8D5DFC3705FE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78787965" sldId="2147484626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78787965" sldId="2147484626"/>
              <ac:spMk id="3" creationId="{00000000-0000-0000-0000-000000000000}"/>
            </ac:spMkLst>
          </pc:spChg>
        </pc:sldLayoutChg>
        <pc:sldLayoutChg chg="modSp">
          <pc:chgData name="Costache, Mihaela (Miha)" userId="7a5a59cf-97f5-4f36-bf8b-1dcff04d4699" providerId="ADAL" clId="{76B0D560-61E3-5EE9-8C56-6257E6E60450}" dt="2025-11-13T10:40:08.609" v="1504"/>
          <pc:sldLayoutMkLst>
            <pc:docMk/>
            <pc:sldMasterMk cId="1814030212" sldId="2147483757"/>
            <pc:sldLayoutMk cId="1412258192" sldId="2147484627"/>
          </pc:sldLayoutMkLst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12258192" sldId="2147484627"/>
              <ac:spMk id="6" creationId="{0A4D5379-4395-764D-A97F-16A48B372B6D}"/>
            </ac:spMkLst>
          </pc:spChg>
          <pc:spChg chg="mod">
            <ac:chgData name="Costache, Mihaela (Miha)" userId="7a5a59cf-97f5-4f36-bf8b-1dcff04d4699" providerId="ADAL" clId="{76B0D560-61E3-5EE9-8C56-6257E6E60450}" dt="2025-11-13T10:40:08.609" v="1504"/>
            <ac:spMkLst>
              <pc:docMk/>
              <pc:sldMasterMk cId="1814030212" sldId="2147483757"/>
              <pc:sldLayoutMk cId="1412258192" sldId="2147484627"/>
              <ac:spMk id="9" creationId="{ECAA8943-D858-924F-88CD-86946140F65D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1" i="0">
                <a:latin typeface="Arial" panose="020B0604020202020204" pitchFamily="34" charset="0"/>
              </a:defRPr>
            </a:lvl1pPr>
          </a:lstStyle>
          <a:p>
            <a:fld id="{7A43BBDF-B2DB-47DD-B689-C5E3BA41C97E}" type="datetimeFigureOut">
              <a:rPr lang="en-US" smtClean="0"/>
              <a:pPr/>
              <a:t>11/14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 i="0">
                <a:latin typeface="Arial" panose="020B0604020202020204" pitchFamily="34" charset="0"/>
              </a:defRPr>
            </a:lvl1pPr>
          </a:lstStyle>
          <a:p>
            <a:fld id="{B5950F3F-2831-499A-AD3C-9E14A08FD85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439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9579">
              <a:defRPr/>
            </a:pPr>
            <a:fld id="{ED70284F-7E88-4545-9BB2-221688BE3F3A}" type="slidenum">
              <a:rPr lang="en-US">
                <a:solidFill>
                  <a:prstClr val="black"/>
                </a:solidFill>
              </a:rPr>
              <a:pPr defTabSz="929579"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4845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E1BE30-486B-6847-AF23-E24ED9229BAF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98697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ED05C-B1D9-465C-BD52-C34F7E573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C5DE2D-CE74-6029-1C5E-2499B288AA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07F518-AECA-E7DF-263E-A784DFFE9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2713" indent="-112713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cs typeface="Arial" panose="020B0604020202020204" pitchFamily="34" charset="0"/>
              </a:rPr>
              <a:t>HW availability pertains to model lines. Some SKUs may be discontinued based on market demand</a:t>
            </a:r>
          </a:p>
          <a:p>
            <a:pPr marL="112713" indent="-112713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cs typeface="Arial" panose="020B0604020202020204" pitchFamily="34" charset="0"/>
              </a:rPr>
              <a:t>HW availability and service is subject to the availability of parts from suppliers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cs typeface="Arial" panose="020B0604020202020204" pitchFamily="34" charset="0"/>
              </a:rPr>
              <a:t>HW Service and Android Support is offered as part of a Service Contract 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cs typeface="Arial" panose="020B0604020202020204" pitchFamily="34" charset="0"/>
              </a:rPr>
              <a:t>Android is a trademark of Google LLC</a:t>
            </a:r>
            <a:endParaRPr kumimoji="0" lang="en-US" sz="8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7AD5F9-254B-F5BE-8FB8-19A7D8FA1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1824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539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H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817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set up showing portfolio – why is it special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60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950F3F-2831-499A-AD3C-9E14A08FD85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32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1BE30-486B-6847-AF23-E24ED9229BA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1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66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916061"/>
            <a:ext cx="7101134" cy="469014"/>
          </a:xfrm>
        </p:spPr>
        <p:txBody>
          <a:bodyPr/>
          <a:lstStyle/>
          <a:p>
            <a:pPr marL="0" marR="0" lvl="0" indent="0" algn="l" defTabSz="466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66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7FC6C9-3F2A-4303-AD26-6D1FDF078F50}" type="slidenum"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666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0415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950F3F-2831-499A-AD3C-9E14A08FD85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7204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950F3F-2831-499A-AD3C-9E14A08FD85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733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0" y="8842030"/>
            <a:ext cx="6858000" cy="4670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E30950-3CF1-0F4E-864D-B0FF98C36D51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8130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C99A3-0BB7-88ED-3021-E785E89BE9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59A1AD-BBFB-401C-F71F-D4F2E14540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F327F5-6DF7-594B-1A1A-0CD9E3B1F1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2CF09C-8A83-42D7-CB63-A811E6CF1E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267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i="0" cap="all" baseline="0">
                <a:latin typeface="Arial" panose="020B0604020202020204" pitchFamily="34" charset="0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fld id="{D105F950-05EE-42A4-8FEF-DE33869804CE}" type="datetime4">
              <a:rPr lang="en-US" smtClean="0"/>
              <a:pPr/>
              <a:t>November 14, 2025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473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74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 b="1" i="0">
                <a:latin typeface="Arial" panose="020B0604020202020204" pitchFamily="34" charset="0"/>
              </a:defRPr>
            </a:lvl1pPr>
            <a:lvl2pPr marL="457200" indent="0">
              <a:defRPr sz="2400" b="1" i="0">
                <a:latin typeface="Arial" panose="020B0604020202020204" pitchFamily="34" charset="0"/>
              </a:defRPr>
            </a:lvl2pPr>
            <a:lvl3pPr marL="685800" indent="-228600">
              <a:defRPr sz="2000" b="1" i="0">
                <a:latin typeface="Arial" panose="020B0604020202020204" pitchFamily="34" charset="0"/>
              </a:defRPr>
            </a:lvl3pPr>
            <a:lvl4pPr marL="1028700" indent="-228600">
              <a:defRPr sz="1800" b="1" i="0">
                <a:latin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C7FFCE7A-E13E-0181-AFC4-117F322673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5085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1E95A2A0-6EFD-3AA5-0909-6672798121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825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80F3F789-4C7F-EA8A-A196-CFF6B44237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834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65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9D43200D-7358-C634-D65E-917C8C757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8345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830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60308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buClr>
                <a:schemeClr val="tx1"/>
              </a:buCl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45021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buClr>
                <a:schemeClr val="tx1"/>
              </a:buCl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56045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571624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534818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275749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27A3D956-E391-41FE-BC3D-8A5C91DE06B1}" type="datetime4">
              <a:rPr lang="en-US" smtClean="0"/>
              <a:pPr/>
              <a:t>November 14, 2025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98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1597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4296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833944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55907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2503328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1F367859-B975-5A1B-3CE3-0F7D5890D0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120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0123326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451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439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95888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58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48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8957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11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9832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469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914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7072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103736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0628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885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829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42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i="0" cap="all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169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9262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PI W1 Template 2022 - Business 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Business Challeng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09700"/>
            <a:ext cx="5372100" cy="629163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>
                <a:solidFill>
                  <a:prstClr val="black"/>
                </a:solidFill>
              </a:rPr>
              <a:t>Industry Data/VOC/POC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to support the NPI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09701"/>
            <a:ext cx="5372100" cy="629164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>
                <a:solidFill>
                  <a:prstClr val="black"/>
                </a:solidFill>
              </a:rPr>
              <a:t>Operation Challenges and KPI’s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impacted that the NPI support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796EE1-719B-9048-ADC1-F72987C86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2138363"/>
            <a:ext cx="5372100" cy="3495675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>
              <a:defRPr sz="1800" b="1" i="0">
                <a:latin typeface="Arial" panose="020B0604020202020204" pitchFamily="34" charset="0"/>
              </a:defRPr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1"/>
            <a:r>
              <a:rPr lang="en-US" dirty="0"/>
              <a:t>Industry data</a:t>
            </a:r>
          </a:p>
          <a:p>
            <a:pPr lvl="1"/>
            <a:r>
              <a:rPr lang="en-US" dirty="0"/>
              <a:t>Customer-identified need</a:t>
            </a:r>
          </a:p>
          <a:p>
            <a:pPr lvl="1"/>
            <a:r>
              <a:rPr lang="en-US" dirty="0"/>
              <a:t>Proof of concept</a:t>
            </a:r>
          </a:p>
          <a:p>
            <a:pPr lvl="1"/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32A21BE-C6C4-CA45-8B96-EFA9E69F1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2138363"/>
            <a:ext cx="5372100" cy="3495675"/>
          </a:xfrm>
        </p:spPr>
        <p:txBody>
          <a:bodyPr/>
          <a:lstStyle>
            <a:lvl2pPr>
              <a:defRPr sz="1800" b="1" i="0">
                <a:latin typeface="Arial" panose="020B0604020202020204" pitchFamily="34" charset="0"/>
              </a:defRPr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1"/>
            <a:r>
              <a:rPr lang="en-US" dirty="0"/>
              <a:t>Connect the dots with the data – be specific on what that means for the vertical</a:t>
            </a:r>
          </a:p>
          <a:p>
            <a:pPr lvl="1"/>
            <a:r>
              <a:rPr lang="en-US" dirty="0"/>
              <a:t>List specific business KPIs this can help businesses/clinicians achieve</a:t>
            </a:r>
          </a:p>
        </p:txBody>
      </p:sp>
    </p:spTree>
    <p:extLst>
      <p:ext uri="{BB962C8B-B14F-4D97-AF65-F5344CB8AC3E}">
        <p14:creationId xmlns:p14="http://schemas.microsoft.com/office/powerpoint/2010/main" val="1689570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PI W1 Template 2022 - General 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0" y="495300"/>
            <a:ext cx="5372100" cy="4191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eneral Trend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7FCDE3-C768-4A48-B48A-637D10954E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0" y="1409700"/>
            <a:ext cx="5372100" cy="4297363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7A1D8F55-9C72-7EA9-0BA9-1B6C7255CC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44549" y="6650741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929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i="0" cap="all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8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6732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408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854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420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2C6C28DD-52A5-1EA9-EBED-4DC5C7301A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138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21F49FCE-4C89-FFF8-6E21-057063A12D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652" y="6480164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43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b="1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898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84001AD2-B70A-803B-F38F-A2CEB65595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3280" y="653193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74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B71B9B97-F708-4AB5-8E9E-1448408B5A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1485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buClr>
                <a:schemeClr val="tx1"/>
              </a:buCl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74E0A2D0-A954-32E1-F16A-BBCF551760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04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2C6AC0D4-64E0-DCAE-C846-782295A1063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579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2A28D2D3-CBC3-6BE1-577C-6ED17B537B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017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9" name="Rectangle 23">
            <a:extLst>
              <a:ext uri="{FF2B5EF4-FFF2-40B4-BE49-F238E27FC236}">
                <a16:creationId xmlns:a16="http://schemas.microsoft.com/office/drawing/2014/main" id="{1CCFED35-5664-E919-8476-2EB15BB493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8868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C9A28545-AE30-F96A-80FC-8BEEE79458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043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22153B4-A311-6DA3-F940-051F36C8B17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11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 b="1" i="0">
                <a:latin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</a:defRPr>
            </a:lvl2pPr>
            <a:lvl3pPr>
              <a:defRPr sz="1800" b="1" i="0">
                <a:latin typeface="Arial" panose="020B0604020202020204" pitchFamily="34" charset="0"/>
              </a:defRPr>
            </a:lvl3pPr>
            <a:lvl4pPr>
              <a:defRPr sz="1600" b="1" i="0">
                <a:latin typeface="Arial" panose="020B0604020202020204" pitchFamily="34" charset="0"/>
              </a:defRPr>
            </a:lvl4pPr>
            <a:lvl5pPr>
              <a:defRPr sz="1400"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EFD6F15E-E3C0-FBA2-6148-87861E26DB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976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29EE3861-BD72-E636-CA60-2B7C23B481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48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2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04130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25E31E88-DE4A-4C4C-D690-B8F3726F36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6742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88D4A098-62B3-9F5F-A13A-AD0E7BE7EE0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5289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04E7356E-8208-2BC5-42E6-5A3564A4F5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3401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DDBC21D2-18DF-4CF4-3AC8-BDC791A9DF1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903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31D257F5-88A9-75FF-2809-E32083EC93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989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4295C290-4BFD-A2B8-7296-43C1360E84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97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23">
            <a:extLst>
              <a:ext uri="{FF2B5EF4-FFF2-40B4-BE49-F238E27FC236}">
                <a16:creationId xmlns:a16="http://schemas.microsoft.com/office/drawing/2014/main" id="{27B704A3-0554-A294-F7BE-56B035888A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58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2EEF05D2-3D4F-6417-7077-C1F27E36E3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125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23">
            <a:extLst>
              <a:ext uri="{FF2B5EF4-FFF2-40B4-BE49-F238E27FC236}">
                <a16:creationId xmlns:a16="http://schemas.microsoft.com/office/drawing/2014/main" id="{CC04B57B-B3A7-8CFA-55A7-1DFE2900AD3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154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C0D8A3FC-4C3D-1D85-B85A-FCE7165B77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110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349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EA0C57C2-AFF5-3C5A-4768-58C00647AB7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764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 b="1" i="0">
                <a:latin typeface="Arial" panose="020B0604020202020204" pitchFamily="34" charset="0"/>
              </a:defRPr>
            </a:lvl1pPr>
            <a:lvl2pPr>
              <a:defRPr sz="1400" b="1" i="0">
                <a:latin typeface="Arial" panose="020B0604020202020204" pitchFamily="34" charset="0"/>
              </a:defRPr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75F562EB-719C-3B5B-4EEC-B8988AAA10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384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2E6F90BA-6C7B-510E-F8F0-941F30711D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3179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3">
            <a:extLst>
              <a:ext uri="{FF2B5EF4-FFF2-40B4-BE49-F238E27FC236}">
                <a16:creationId xmlns:a16="http://schemas.microsoft.com/office/drawing/2014/main" id="{C7EBDD15-27E1-8FE8-1255-B037495A2C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7829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>
            <a:extLst>
              <a:ext uri="{FF2B5EF4-FFF2-40B4-BE49-F238E27FC236}">
                <a16:creationId xmlns:a16="http://schemas.microsoft.com/office/drawing/2014/main" id="{D3CC8A04-4A2C-F39C-5B4D-665E6711398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9915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478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698582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PI W1 Template 2022 - HON Port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zh-CN"/>
              <a:t>[NPI Name]</a:t>
            </a:r>
            <a:r>
              <a:rPr lang="zh-CN" altLang="en-US"/>
              <a:t> </a:t>
            </a:r>
            <a:r>
              <a:rPr lang="en-US"/>
              <a:t>launch timelin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565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232" y="356616"/>
            <a:ext cx="10523336" cy="4984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21D1E3F-96BE-4EC6-B772-60D92C1E53E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87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/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0937653-9E9E-3546-8E0E-B2F8D8F79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945" y="590941"/>
            <a:ext cx="10822109" cy="436017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>
              <a:lnSpc>
                <a:spcPct val="7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4D5379-4395-764D-A97F-16A48B372B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4213" y="1026958"/>
            <a:ext cx="10822841" cy="164982"/>
          </a:xfrm>
        </p:spPr>
        <p:txBody>
          <a:bodyPr>
            <a:spAutoFit/>
          </a:bodyPr>
          <a:lstStyle>
            <a:lvl1pPr marL="0" indent="0">
              <a:lnSpc>
                <a:spcPct val="70000"/>
              </a:lnSpc>
              <a:buNone/>
              <a:defRPr sz="1500" b="1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0" i="0" dirty="0">
                <a:latin typeface="Arial" panose="020B0604020202020204" pitchFamily="34" charset="0"/>
                <a:cs typeface="Arial" panose="020B0604020202020204" pitchFamily="34" charset="0"/>
              </a:rPr>
              <a:t>Sub Header Text Optional, Arial Regular 15pt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AA8943-D858-924F-88CD-86946140F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039" y="45719"/>
            <a:ext cx="425227" cy="2837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A66E354-A1E5-D643-A18C-204373C670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258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36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03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14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1.emf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769601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47" imgH="348" progId="TCLayout.ActiveDocument.1">
                  <p:embed/>
                </p:oleObj>
              </mc:Choice>
              <mc:Fallback>
                <p:oleObj name="think-cell Slide" r:id="rId8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0084" y="6583702"/>
            <a:ext cx="2090267" cy="1340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pyright © 2025 Honeywell International Inc</a:t>
            </a:r>
            <a:endParaRPr lang="en-US" sz="800" b="1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030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32" r:id="rId4"/>
    <p:sldLayoutId id="2147483762" r:id="rId5"/>
    <p:sldLayoutId id="2147483734" r:id="rId6"/>
    <p:sldLayoutId id="2147483735" r:id="rId7"/>
    <p:sldLayoutId id="2147483765" r:id="rId8"/>
    <p:sldLayoutId id="2147483737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4624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51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  <p:sldLayoutId id="2147484622" r:id="rId39"/>
    <p:sldLayoutId id="2147483794" r:id="rId40"/>
    <p:sldLayoutId id="2147483795" r:id="rId41"/>
    <p:sldLayoutId id="2147483796" r:id="rId42"/>
    <p:sldLayoutId id="2147483707" r:id="rId43"/>
    <p:sldLayoutId id="2147483709" r:id="rId44"/>
    <p:sldLayoutId id="2147483710" r:id="rId45"/>
    <p:sldLayoutId id="2147483711" r:id="rId46"/>
    <p:sldLayoutId id="2147483712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  <p:sldLayoutId id="2147483722" r:id="rId56"/>
    <p:sldLayoutId id="2147483723" r:id="rId57"/>
    <p:sldLayoutId id="2147483724" r:id="rId58"/>
    <p:sldLayoutId id="2147483725" r:id="rId59"/>
    <p:sldLayoutId id="2147483726" r:id="rId60"/>
    <p:sldLayoutId id="2147483727" r:id="rId61"/>
    <p:sldLayoutId id="2147483728" r:id="rId62"/>
    <p:sldLayoutId id="2147483729" r:id="rId63"/>
    <p:sldLayoutId id="2147483730" r:id="rId64"/>
    <p:sldLayoutId id="2147483731" r:id="rId65"/>
    <p:sldLayoutId id="2147484618" r:id="rId66"/>
    <p:sldLayoutId id="2147483733" r:id="rId67"/>
    <p:sldLayoutId id="2147484619" r:id="rId68"/>
    <p:sldLayoutId id="2147484620" r:id="rId69"/>
    <p:sldLayoutId id="2147483736" r:id="rId70"/>
    <p:sldLayoutId id="2147484621" r:id="rId71"/>
    <p:sldLayoutId id="2147483738" r:id="rId72"/>
    <p:sldLayoutId id="2147483739" r:id="rId73"/>
    <p:sldLayoutId id="2147484623" r:id="rId74"/>
    <p:sldLayoutId id="2147483740" r:id="rId75"/>
    <p:sldLayoutId id="2147483756" r:id="rId76"/>
    <p:sldLayoutId id="2147484625" r:id="rId77"/>
    <p:sldLayoutId id="2147484626" r:id="rId78"/>
    <p:sldLayoutId id="2147484627" r:id="rId7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30.emf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12" Type="http://schemas.openxmlformats.org/officeDocument/2006/relationships/image" Target="../media/image5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7.png"/><Relationship Id="rId11" Type="http://schemas.openxmlformats.org/officeDocument/2006/relationships/image" Target="../media/image52.emf"/><Relationship Id="rId5" Type="http://schemas.openxmlformats.org/officeDocument/2006/relationships/image" Target="../media/image46.svg"/><Relationship Id="rId10" Type="http://schemas.openxmlformats.org/officeDocument/2006/relationships/image" Target="../media/image51.emf"/><Relationship Id="rId4" Type="http://schemas.openxmlformats.org/officeDocument/2006/relationships/image" Target="../media/image45.png"/><Relationship Id="rId9" Type="http://schemas.openxmlformats.org/officeDocument/2006/relationships/image" Target="../media/image50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openxmlformats.org/officeDocument/2006/relationships/image" Target="../media/image39.png"/><Relationship Id="rId3" Type="http://schemas.openxmlformats.org/officeDocument/2006/relationships/image" Target="../media/image54.jpeg"/><Relationship Id="rId21" Type="http://schemas.openxmlformats.org/officeDocument/2006/relationships/image" Target="../media/image72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jpe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29" Type="http://schemas.openxmlformats.org/officeDocument/2006/relationships/image" Target="../media/image7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28" Type="http://schemas.openxmlformats.org/officeDocument/2006/relationships/image" Target="../media/image41.png"/><Relationship Id="rId10" Type="http://schemas.openxmlformats.org/officeDocument/2006/relationships/image" Target="../media/image61.jpeg"/><Relationship Id="rId19" Type="http://schemas.openxmlformats.org/officeDocument/2006/relationships/image" Target="../media/image70.png"/><Relationship Id="rId4" Type="http://schemas.openxmlformats.org/officeDocument/2006/relationships/image" Target="../media/image55.jpe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jpeg"/><Relationship Id="rId27" Type="http://schemas.openxmlformats.org/officeDocument/2006/relationships/image" Target="../media/image40.png"/><Relationship Id="rId30" Type="http://schemas.openxmlformats.org/officeDocument/2006/relationships/image" Target="../media/image7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emf"/><Relationship Id="rId7" Type="http://schemas.openxmlformats.org/officeDocument/2006/relationships/image" Target="../media/image84.png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3.png"/><Relationship Id="rId11" Type="http://schemas.openxmlformats.org/officeDocument/2006/relationships/image" Target="../media/image88.pn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svg"/><Relationship Id="rId18" Type="http://schemas.openxmlformats.org/officeDocument/2006/relationships/image" Target="../media/image28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30.emf"/><Relationship Id="rId7" Type="http://schemas.openxmlformats.org/officeDocument/2006/relationships/image" Target="../media/image18.svg"/><Relationship Id="rId12" Type="http://schemas.openxmlformats.org/officeDocument/2006/relationships/image" Target="../media/image22.png"/><Relationship Id="rId17" Type="http://schemas.openxmlformats.org/officeDocument/2006/relationships/image" Target="../media/image27.sv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6.png"/><Relationship Id="rId20" Type="http://schemas.microsoft.com/office/2007/relationships/hdphoto" Target="../media/hdphoto5.wdp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11" Type="http://schemas.microsoft.com/office/2007/relationships/hdphoto" Target="../media/hdphoto4.wdp"/><Relationship Id="rId5" Type="http://schemas.openxmlformats.org/officeDocument/2006/relationships/image" Target="../media/image16.emf"/><Relationship Id="rId15" Type="http://schemas.openxmlformats.org/officeDocument/2006/relationships/image" Target="../media/image25.sv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0.svg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22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hyperlink" Target="https://www.asus.com/content/wifi7/" TargetMode="External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5.png"/><Relationship Id="rId12" Type="http://schemas.openxmlformats.org/officeDocument/2006/relationships/hyperlink" Target="https://www.tp-link.com/us/wifi7/" TargetMode="Externa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11" Type="http://schemas.openxmlformats.org/officeDocument/2006/relationships/hyperlink" Target="https://www.qualcomm.com/content/dam/qcomm-martech/dm-assets/documents/Qualcomm-Wi-Fi-7-Reference-Guide.pdf" TargetMode="External"/><Relationship Id="rId5" Type="http://schemas.openxmlformats.org/officeDocument/2006/relationships/oleObject" Target="../embeddings/oleObject13.bin"/><Relationship Id="rId10" Type="http://schemas.openxmlformats.org/officeDocument/2006/relationships/hyperlink" Target="https://www.intel.com/content/www/us/en/products/docs/wireless/wi-fi-technology-guide.html" TargetMode="External"/><Relationship Id="rId4" Type="http://schemas.openxmlformats.org/officeDocument/2006/relationships/notesSlide" Target="../notesSlides/notesSlide6.xml"/><Relationship Id="rId9" Type="http://schemas.openxmlformats.org/officeDocument/2006/relationships/hyperlink" Target="https://en.wikipedia.org/wiki/Wi-Fi_7" TargetMode="External"/><Relationship Id="rId14" Type="http://schemas.openxmlformats.org/officeDocument/2006/relationships/hyperlink" Target="https://www.netgear.com/hub/technology/wifi-7-vs-wifi-6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5" hidden="1">
            <a:extLst>
              <a:ext uri="{FF2B5EF4-FFF2-40B4-BE49-F238E27FC236}">
                <a16:creationId xmlns:a16="http://schemas.microsoft.com/office/drawing/2014/main" id="{E233A12E-813E-478F-9054-A8FE4DAC5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9698" name="Object 5" hidden="1">
                        <a:extLst>
                          <a:ext uri="{FF2B5EF4-FFF2-40B4-BE49-F238E27FC236}">
                            <a16:creationId xmlns:a16="http://schemas.microsoft.com/office/drawing/2014/main" id="{E233A12E-813E-478F-9054-A8FE4DAC56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13045C-282D-4E04-A3E3-7613D3690C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4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AA2B0A-F978-4C2A-BDFA-E4F197B99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10043867" cy="2703369"/>
          </a:xfrm>
        </p:spPr>
        <p:txBody>
          <a:bodyPr/>
          <a:lstStyle/>
          <a:p>
            <a:pPr eaLnBrk="1" fontAlgn="auto" hangingPunct="1">
              <a:lnSpc>
                <a:spcPts val="5200"/>
              </a:lnSpc>
              <a:spcAft>
                <a:spcPts val="0"/>
              </a:spcAft>
              <a:defRPr/>
            </a:pPr>
            <a:r>
              <a:rPr lang="en-US" sz="6000" dirty="0">
                <a:solidFill>
                  <a:schemeClr val="accent1"/>
                </a:solidFill>
              </a:rPr>
              <a:t>Honeywell</a:t>
            </a:r>
            <a:r>
              <a:rPr lang="en-US" sz="6000" dirty="0"/>
              <a:t> </a:t>
            </a:r>
            <a:br>
              <a:rPr lang="en-US" sz="6000" dirty="0"/>
            </a:br>
            <a:r>
              <a:rPr lang="en-US" sz="6000" dirty="0"/>
              <a:t>ct70</a:t>
            </a:r>
            <a:br>
              <a:rPr lang="en-US" sz="6000" dirty="0"/>
            </a:br>
            <a:r>
              <a:rPr lang="en-US" sz="6000" dirty="0"/>
              <a:t>Mobile </a:t>
            </a:r>
            <a:br>
              <a:rPr lang="en-US" sz="6000" dirty="0"/>
            </a:br>
            <a:r>
              <a:rPr lang="en-US" sz="6000" dirty="0"/>
              <a:t>comput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4F69EC-A720-476D-897B-F821076492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4368577"/>
            <a:ext cx="5600700" cy="923330"/>
          </a:xfrm>
        </p:spPr>
        <p:txBody>
          <a:bodyPr rtlCol="0"/>
          <a:lstStyle/>
          <a:p>
            <a:r>
              <a:rPr lang="en-US" dirty="0"/>
              <a:t>Candy </a:t>
            </a:r>
            <a:r>
              <a:rPr lang="en-US" dirty="0" err="1"/>
              <a:t>xie</a:t>
            </a:r>
            <a:br>
              <a:rPr lang="en-US" dirty="0"/>
            </a:br>
            <a:r>
              <a:rPr lang="en-US" b="1" cap="none" dirty="0">
                <a:latin typeface="Arial" panose="020B0604020202020204" pitchFamily="34" charset="0"/>
                <a:cs typeface="Arial" panose="020B0604020202020204" pitchFamily="34" charset="0"/>
              </a:rPr>
              <a:t>Global Offering Manager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defRPr/>
            </a:pPr>
            <a:endParaRPr lang="en-US" dirty="0"/>
          </a:p>
        </p:txBody>
      </p:sp>
      <p:pic>
        <p:nvPicPr>
          <p:cNvPr id="6" name="Picture 5" descr="A black cell phone with red dots&#10;&#10;AI-generated content may be incorrect.">
            <a:extLst>
              <a:ext uri="{FF2B5EF4-FFF2-40B4-BE49-F238E27FC236}">
                <a16:creationId xmlns:a16="http://schemas.microsoft.com/office/drawing/2014/main" id="{FAFB182F-1962-B746-6D3F-C70EBF138D3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92" t="9826" r="25617" b="10208"/>
          <a:stretch>
            <a:fillRect/>
          </a:stretch>
        </p:blipFill>
        <p:spPr>
          <a:xfrm>
            <a:off x="7220187" y="363485"/>
            <a:ext cx="3771436" cy="6131030"/>
          </a:xfrm>
          <a:prstGeom prst="rect">
            <a:avLst/>
          </a:prstGeom>
          <a:effectLst>
            <a:outerShdw blurRad="152400" dist="88486" dir="5580000" sx="86446" sy="86446" rotWithShape="0">
              <a:prstClr val="black">
                <a:alpha val="33000"/>
              </a:prstClr>
            </a:outerShdw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7C0AE4-D24C-B6C9-8912-F3BF4BCB9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0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EF826A8-C588-3091-4468-3766CD38C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54" y="531604"/>
            <a:ext cx="11201401" cy="419100"/>
          </a:xfrm>
        </p:spPr>
        <p:txBody>
          <a:bodyPr/>
          <a:lstStyle/>
          <a:p>
            <a:r>
              <a:rPr lang="en-US" dirty="0"/>
              <a:t>3 battery option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4B6C16B-C58C-1631-C6A2-94AC3B983B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4556" y="3933640"/>
            <a:ext cx="2880000" cy="2627005"/>
          </a:xfrm>
          <a:solidFill>
            <a:schemeClr val="tx1">
              <a:lumMod val="75000"/>
              <a:lumOff val="25000"/>
            </a:schemeClr>
          </a:solidFill>
        </p:spPr>
        <p:txBody>
          <a:bodyPr vert="horz" lIns="108000" tIns="180000" rIns="108000" bIns="10800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Highly reliable: no terminal charging pin wear and tear over long period of u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Qi compatible: Allows CT70 with wireless battery to be charged on many off-the-shelf Qi compliant charge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8" name="Picture 17" descr="A black rectangular object with a logo&#10;&#10;AI-generated content may be incorrect.">
            <a:extLst>
              <a:ext uri="{FF2B5EF4-FFF2-40B4-BE49-F238E27FC236}">
                <a16:creationId xmlns:a16="http://schemas.microsoft.com/office/drawing/2014/main" id="{23E8BEF6-6A45-914A-819C-08A7B6146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6641" y="1887880"/>
            <a:ext cx="1308073" cy="1947385"/>
          </a:xfrm>
          <a:prstGeom prst="rect">
            <a:avLst/>
          </a:prstGeom>
        </p:spPr>
      </p:pic>
      <p:pic>
        <p:nvPicPr>
          <p:cNvPr id="20" name="Picture 19" descr="A black electronic device with a logo&#10;&#10;AI-generated content may be incorrect.">
            <a:extLst>
              <a:ext uri="{FF2B5EF4-FFF2-40B4-BE49-F238E27FC236}">
                <a16:creationId xmlns:a16="http://schemas.microsoft.com/office/drawing/2014/main" id="{DB08B511-E604-4E4F-216B-BC0AB7F0F8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4691" y="1958433"/>
            <a:ext cx="1309613" cy="190288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EFC0DA8-7A8F-220C-E904-5B0FF93C0A04}"/>
              </a:ext>
            </a:extLst>
          </p:cNvPr>
          <p:cNvSpPr txBox="1"/>
          <p:nvPr/>
        </p:nvSpPr>
        <p:spPr>
          <a:xfrm>
            <a:off x="5654591" y="2594287"/>
            <a:ext cx="1046213" cy="66014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75mAh, Wireles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FD676F-25F9-34D5-6C6A-6CE2D71F52F6}"/>
              </a:ext>
            </a:extLst>
          </p:cNvPr>
          <p:cNvSpPr txBox="1"/>
          <p:nvPr/>
        </p:nvSpPr>
        <p:spPr>
          <a:xfrm>
            <a:off x="8118454" y="3933640"/>
            <a:ext cx="2880000" cy="298519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rot="0" spcFirstLastPara="0" vertOverflow="overflow" horzOverflow="overflow" vert="horz" wrap="square" lIns="108000" tIns="180000" rIns="108000" bIns="21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1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 operational downtime</a:t>
            </a:r>
            <a:r>
              <a:rPr lang="en-US" sz="1400" b="1" kern="1200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/>
              </a:rPr>
              <a:t>supporting up </a:t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/>
              </a:rPr>
            </a:b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/>
              </a:rPr>
              <a:t>to 3 shifts on a single cha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mpatible: Fully compatible with existing CT70 QBC/home bases, CT70 scan handle, CT70 protective boot, and CT70 wearable kit</a:t>
            </a:r>
          </a:p>
        </p:txBody>
      </p:sp>
      <p:pic>
        <p:nvPicPr>
          <p:cNvPr id="3" name="Picture 2" descr="A black rectangular object with a lighter&#10;&#10;AI-generated content may be incorrect.">
            <a:extLst>
              <a:ext uri="{FF2B5EF4-FFF2-40B4-BE49-F238E27FC236}">
                <a16:creationId xmlns:a16="http://schemas.microsoft.com/office/drawing/2014/main" id="{2D2F452C-C094-7769-9502-2C9B7CFC62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4023" y="1802250"/>
            <a:ext cx="1294482" cy="20590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ACC7340-F6BD-0845-14D8-DC7B011FF76E}"/>
              </a:ext>
            </a:extLst>
          </p:cNvPr>
          <p:cNvSpPr txBox="1"/>
          <p:nvPr/>
        </p:nvSpPr>
        <p:spPr>
          <a:xfrm>
            <a:off x="441264" y="3933639"/>
            <a:ext cx="2880000" cy="26270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vert="horz" lIns="108000" tIns="180000" rIns="108000" bIns="108000" rtlCol="0" anchor="t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rgbClr val="C00000"/>
                </a:solidFill>
                <a:latin typeface="Arial"/>
                <a:cs typeface="Arial"/>
              </a:defRPr>
            </a:lvl1pPr>
            <a:lvl2pPr marL="230188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/>
            </a:lvl2pPr>
            <a:lvl3pPr marL="530225" indent="-2460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/>
            </a:lvl3pPr>
            <a:lvl4pPr marL="742950" indent="-177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</a:lvl4pPr>
            <a:lvl5pPr marL="974725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baseline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-release battery </a:t>
            </a:r>
            <a:b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ch design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one hand operation,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es time</a:t>
            </a:r>
            <a:b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attery replacemen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full shift </a:t>
            </a:r>
            <a:b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and lasts longer than competition at the same test environment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ED6086-D050-2D7C-1C2C-0448496E8282}"/>
              </a:ext>
            </a:extLst>
          </p:cNvPr>
          <p:cNvSpPr txBox="1"/>
          <p:nvPr/>
        </p:nvSpPr>
        <p:spPr>
          <a:xfrm>
            <a:off x="384993" y="934626"/>
            <a:ext cx="60983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mproved User Experience, Reduced Operating Downti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021029-9151-B298-C912-9BE6A9609371}"/>
              </a:ext>
            </a:extLst>
          </p:cNvPr>
          <p:cNvSpPr txBox="1"/>
          <p:nvPr/>
        </p:nvSpPr>
        <p:spPr>
          <a:xfrm>
            <a:off x="9790493" y="2594287"/>
            <a:ext cx="1046213" cy="66014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92mAh, </a:t>
            </a:r>
          </a:p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 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4ACE5F-DB04-1BE5-FDE1-971005B2B04C}"/>
              </a:ext>
            </a:extLst>
          </p:cNvPr>
          <p:cNvSpPr txBox="1"/>
          <p:nvPr/>
        </p:nvSpPr>
        <p:spPr>
          <a:xfrm>
            <a:off x="2236142" y="2594287"/>
            <a:ext cx="1046213" cy="66014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75mAh, Standard</a:t>
            </a:r>
          </a:p>
        </p:txBody>
      </p:sp>
    </p:spTree>
    <p:extLst>
      <p:ext uri="{BB962C8B-B14F-4D97-AF65-F5344CB8AC3E}">
        <p14:creationId xmlns:p14="http://schemas.microsoft.com/office/powerpoint/2010/main" val="28115855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3"/>
          <p:cNvSpPr txBox="1">
            <a:spLocks/>
          </p:cNvSpPr>
          <p:nvPr/>
        </p:nvSpPr>
        <p:spPr>
          <a:xfrm>
            <a:off x="656973" y="1689057"/>
            <a:ext cx="5421640" cy="51543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eaLnBrk="0" hangingPunct="0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-reliable connectivity for frontline workers from truck loading to item-level stock management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495300" y="589692"/>
            <a:ext cx="6279573" cy="3247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Arial Black"/>
                <a:ea typeface="+mj-ea"/>
                <a:cs typeface="+mj-cs"/>
              </a:rPr>
              <a:t>Honeywell CT70 RFID</a:t>
            </a:r>
            <a:endParaRPr kumimoji="0" lang="en-US" sz="3200" b="0" i="0" u="none" strike="noStrike" kern="1200" cap="all" spc="0" normalizeH="0" baseline="0" noProof="0" dirty="0">
              <a:ln>
                <a:noFill/>
              </a:ln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C22F30E0-7CF3-4032-8AC5-5854CAA3F98C}"/>
              </a:ext>
            </a:extLst>
          </p:cNvPr>
          <p:cNvSpPr txBox="1">
            <a:spLocks/>
          </p:cNvSpPr>
          <p:nvPr/>
        </p:nvSpPr>
        <p:spPr>
          <a:xfrm>
            <a:off x="495300" y="2566924"/>
            <a:ext cx="6929628" cy="333664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60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UHF RAIN RFID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ant with EPC Class 1 Gen2, ISO 18000-6C, and ISO 18000-63 standards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ID frequency range: 865–868 MHz and 902–928 MHz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5G-NR: FR1, CBRS, P</a:t>
            </a:r>
            <a:r>
              <a:rPr lang="en-US" altLang="zh-C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vate 5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Wi-Fi 7/6E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ct, lightweight, and pocketable design with a flat back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precise location tracking of specific packages, pallets, or boxes within arm’s reach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FC tap on screen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tooth version 6.0 as the 2</a:t>
            </a:r>
            <a:r>
              <a:rPr lang="en-US" sz="1200" baseline="30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LE enables high precision device finder capability.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 as a global SKU</a:t>
            </a:r>
          </a:p>
          <a:p>
            <a:pPr marL="400050" lvl="2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-day battery life with fast-charging 4,775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h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t-swappable battery and intelligent battery management; 7,692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h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tended battery option available</a:t>
            </a:r>
          </a:p>
          <a:p>
            <a:pPr marL="171450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endParaRPr lang="en-US" sz="1200" b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457200" eaLnBrk="0" hangingPunct="0">
              <a:spcBef>
                <a:spcPts val="4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FA041-3589-9641-B025-285AE9FDAAF7}"/>
              </a:ext>
            </a:extLst>
          </p:cNvPr>
          <p:cNvSpPr txBox="1"/>
          <p:nvPr/>
        </p:nvSpPr>
        <p:spPr>
          <a:xfrm>
            <a:off x="9674549" y="6379255"/>
            <a:ext cx="2680403" cy="1077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ed launch:  1H26; Variable by Country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C147C03-0E05-4A46-067D-08D93BDD4F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" t="17199" r="388" b="20603"/>
          <a:stretch>
            <a:fillRect/>
          </a:stretch>
        </p:blipFill>
        <p:spPr bwMode="auto">
          <a:xfrm>
            <a:off x="7735825" y="0"/>
            <a:ext cx="4456175" cy="2686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FA1C1C11-1781-25BF-0B16-B0359D2C5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5" r="1059" b="37847"/>
          <a:stretch>
            <a:fillRect/>
          </a:stretch>
        </p:blipFill>
        <p:spPr bwMode="auto">
          <a:xfrm>
            <a:off x="7735825" y="2759360"/>
            <a:ext cx="4456174" cy="333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E14473-1D52-C21A-D078-0F6B9CA858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b="0" spc="300" dirty="0">
                <a:solidFill>
                  <a:prstClr val="white"/>
                </a:solidFill>
              </a:rPr>
              <a:t>Integrated RFID in T&amp;L and Reta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E140D4-0519-AA41-BA93-0DA9B76F270F}"/>
              </a:ext>
            </a:extLst>
          </p:cNvPr>
          <p:cNvSpPr txBox="1"/>
          <p:nvPr/>
        </p:nvSpPr>
        <p:spPr>
          <a:xfrm>
            <a:off x="399214" y="1010757"/>
            <a:ext cx="61813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 eaLnBrk="0" hangingPunct="0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ll in one device incl. Integrated RFI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585116-D097-AB16-C827-8EA038161FF6}"/>
              </a:ext>
            </a:extLst>
          </p:cNvPr>
          <p:cNvCxnSpPr>
            <a:cxnSpLocks/>
          </p:cNvCxnSpPr>
          <p:nvPr/>
        </p:nvCxnSpPr>
        <p:spPr>
          <a:xfrm>
            <a:off x="516096" y="1730402"/>
            <a:ext cx="0" cy="389602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78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A110D5-CBBF-C263-0CD5-D3EC4CA68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AF71CA2-0EE5-63BD-FB63-358322985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969" y="1914366"/>
            <a:ext cx="2443606" cy="3155813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5ED49DD0-3362-3A05-F462-ACB48855C8E1}"/>
              </a:ext>
            </a:extLst>
          </p:cNvPr>
          <p:cNvSpPr/>
          <p:nvPr/>
        </p:nvSpPr>
        <p:spPr>
          <a:xfrm>
            <a:off x="2129933" y="1646474"/>
            <a:ext cx="108117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Operational </a:t>
            </a:r>
            <a:b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Intelligenc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5F0198-F5E9-5232-43EB-DB18B13C9B46}"/>
              </a:ext>
            </a:extLst>
          </p:cNvPr>
          <p:cNvSpPr/>
          <p:nvPr/>
        </p:nvSpPr>
        <p:spPr>
          <a:xfrm>
            <a:off x="1842028" y="1984725"/>
            <a:ext cx="533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00" b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DM</a:t>
            </a:r>
            <a:endParaRPr kumimoji="0" lang="en-AU" sz="10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FF2C2EF-7FF9-AE99-E788-356C84AC5718}"/>
              </a:ext>
            </a:extLst>
          </p:cNvPr>
          <p:cNvSpPr/>
          <p:nvPr/>
        </p:nvSpPr>
        <p:spPr>
          <a:xfrm>
            <a:off x="1075483" y="1807538"/>
            <a:ext cx="7878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Guided Work S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2DCFA80-37F0-A4A1-2E6B-5C3BA99BD96B}"/>
              </a:ext>
            </a:extLst>
          </p:cNvPr>
          <p:cNvSpPr/>
          <p:nvPr/>
        </p:nvSpPr>
        <p:spPr>
          <a:xfrm>
            <a:off x="295462" y="2222143"/>
            <a:ext cx="9612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Smart Talk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89D158FD-AC40-748F-4817-07575006D6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51081" y="5754267"/>
            <a:ext cx="358196" cy="349667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05C40927-AF7A-5E46-4D67-88CA4F69DAB7}"/>
              </a:ext>
            </a:extLst>
          </p:cNvPr>
          <p:cNvSpPr/>
          <p:nvPr/>
        </p:nvSpPr>
        <p:spPr>
          <a:xfrm>
            <a:off x="2521127" y="4534467"/>
            <a:ext cx="9612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SmartOCR</a:t>
            </a:r>
            <a:endParaRPr kumimoji="0" lang="en-AU" sz="10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9C33AAB5-2CDD-81F4-4432-0FFDF93D9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0979" y="5056832"/>
            <a:ext cx="431970" cy="449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07AED6F-6C26-8D99-76D6-9DE35FC25045}"/>
              </a:ext>
            </a:extLst>
          </p:cNvPr>
          <p:cNvSpPr/>
          <p:nvPr/>
        </p:nvSpPr>
        <p:spPr>
          <a:xfrm>
            <a:off x="1551393" y="4768392"/>
            <a:ext cx="118908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SwiftDecoder</a:t>
            </a:r>
            <a:endParaRPr kumimoji="0" lang="en-AU" sz="10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B81340E8-2A38-02EB-0710-1897F3877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431" y="4799232"/>
            <a:ext cx="480638" cy="692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A0426D87-8B41-86F7-9545-A637F434B0EA}"/>
              </a:ext>
            </a:extLst>
          </p:cNvPr>
          <p:cNvSpPr/>
          <p:nvPr/>
        </p:nvSpPr>
        <p:spPr>
          <a:xfrm>
            <a:off x="1329536" y="6292301"/>
            <a:ext cx="17228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5+5 Lifecycle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DF1DBA6-AA5B-F07D-EED3-5C991B0B785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27780" y="1521892"/>
            <a:ext cx="2323153" cy="476921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97C162D8-F4B9-6D95-7A7D-6239051300AC}"/>
              </a:ext>
            </a:extLst>
          </p:cNvPr>
          <p:cNvSpPr/>
          <p:nvPr/>
        </p:nvSpPr>
        <p:spPr>
          <a:xfrm>
            <a:off x="3748769" y="6226825"/>
            <a:ext cx="108117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CT7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DA04E3-FACC-B2CA-666D-C41FFFCC305C}"/>
              </a:ext>
            </a:extLst>
          </p:cNvPr>
          <p:cNvSpPr txBox="1"/>
          <p:nvPr/>
        </p:nvSpPr>
        <p:spPr>
          <a:xfrm>
            <a:off x="1854217" y="3348885"/>
            <a:ext cx="96811" cy="792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sz="4000" b="1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55" name="object 6">
            <a:extLst>
              <a:ext uri="{FF2B5EF4-FFF2-40B4-BE49-F238E27FC236}">
                <a16:creationId xmlns:a16="http://schemas.microsoft.com/office/drawing/2014/main" id="{930BD492-5B14-13B9-9376-ADC4A2FD31C1}"/>
              </a:ext>
            </a:extLst>
          </p:cNvPr>
          <p:cNvSpPr txBox="1"/>
          <p:nvPr/>
        </p:nvSpPr>
        <p:spPr>
          <a:xfrm>
            <a:off x="523010" y="832130"/>
            <a:ext cx="10819584" cy="42678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lvl="0">
              <a:lnSpc>
                <a:spcPts val="3680"/>
              </a:lnSpc>
              <a:spcBef>
                <a:spcPts val="100"/>
              </a:spcBef>
            </a:pPr>
            <a:r>
              <a:rPr lang="en-US" sz="1600" b="1" spc="-55" dirty="0">
                <a:latin typeface="Arial" panose="020B0604020202020204" pitchFamily="34" charset="0"/>
                <a:cs typeface="Arial" panose="020B0604020202020204" pitchFamily="34" charset="0"/>
              </a:rPr>
              <a:t>A One-Stop Solution That’s Easy to deploy and Use</a:t>
            </a:r>
            <a:endParaRPr kumimoji="0" lang="en-US" sz="1600" b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0E5675-0072-34C9-6286-E6F82892BDFB}"/>
              </a:ext>
            </a:extLst>
          </p:cNvPr>
          <p:cNvSpPr/>
          <p:nvPr/>
        </p:nvSpPr>
        <p:spPr>
          <a:xfrm>
            <a:off x="2303685" y="6099456"/>
            <a:ext cx="17228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Android 15-19</a:t>
            </a:r>
          </a:p>
          <a:p>
            <a:pPr marL="0" marR="0" lvl="0" indent="0" algn="ctr" defTabSz="628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00" b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ommitment</a:t>
            </a:r>
            <a:endParaRPr kumimoji="0" lang="en-AU" sz="10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0C8445-27D3-66E0-A407-AA8B039B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10" y="549152"/>
            <a:ext cx="11201401" cy="419100"/>
          </a:xfrm>
        </p:spPr>
        <p:txBody>
          <a:bodyPr/>
          <a:lstStyle/>
          <a:p>
            <a:r>
              <a:rPr lang="en-GB" spc="-150" dirty="0"/>
              <a:t>a complete solution set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EFB230-4526-9017-44BB-D70299B404C8}"/>
              </a:ext>
            </a:extLst>
          </p:cNvPr>
          <p:cNvSpPr txBox="1"/>
          <p:nvPr/>
        </p:nvSpPr>
        <p:spPr>
          <a:xfrm>
            <a:off x="6652948" y="5549787"/>
            <a:ext cx="5573444" cy="6874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T70</a:t>
            </a:r>
            <a:r>
              <a:rPr lang="en-US" sz="1600" b="1" dirty="0">
                <a:latin typeface="+mj-lt"/>
                <a:cs typeface="Arial" panose="020B0604020202020204" pitchFamily="34" charset="0"/>
              </a:rPr>
              <a:t> + OPINTEL</a:t>
            </a:r>
          </a:p>
          <a:p>
            <a:pPr fontAlgn="auto">
              <a:spcAft>
                <a:spcPts val="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al-time IT asset tracking and data analytics with Op Int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FA87AC9-0F64-29F8-D40F-7ACEF4A3DE8C}"/>
              </a:ext>
            </a:extLst>
          </p:cNvPr>
          <p:cNvSpPr txBox="1"/>
          <p:nvPr/>
        </p:nvSpPr>
        <p:spPr>
          <a:xfrm>
            <a:off x="6653128" y="1737403"/>
            <a:ext cx="5388598" cy="49998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fontAlgn="auto">
              <a:spcAft>
                <a:spcPts val="0"/>
              </a:spcAft>
            </a:pPr>
            <a:r>
              <a:rPr lang="en-US" sz="16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T70</a:t>
            </a:r>
            <a:r>
              <a:rPr lang="en-US" sz="1600" b="1" dirty="0">
                <a:latin typeface="+mj-lt"/>
                <a:cs typeface="Arial" panose="020B0604020202020204" pitchFamily="34" charset="0"/>
              </a:rPr>
              <a:t> + SMART PAY</a:t>
            </a:r>
          </a:p>
          <a:p>
            <a:pPr fontAlgn="auto">
              <a:spcAft>
                <a:spcPts val="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cure and seamless payment with tap on glass pay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BB4A8B-72C7-6EFE-55F3-3C18DFB4FE89}"/>
              </a:ext>
            </a:extLst>
          </p:cNvPr>
          <p:cNvSpPr txBox="1"/>
          <p:nvPr/>
        </p:nvSpPr>
        <p:spPr>
          <a:xfrm>
            <a:off x="6653155" y="2957927"/>
            <a:ext cx="4820168" cy="6874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T70</a:t>
            </a:r>
            <a:r>
              <a:rPr lang="en-US" sz="1600" b="1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latin typeface="+mj-lt"/>
                <a:cs typeface="Arial" panose="020B0604020202020204" pitchFamily="34" charset="0"/>
              </a:rPr>
              <a:t>+ SMART TALK</a:t>
            </a:r>
          </a:p>
          <a:p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Unified communication with PTT,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exting, Voice over IP, voicemail, and video cal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60A0CDF-E23F-B5EE-1EC2-03BEBBE06531}"/>
              </a:ext>
            </a:extLst>
          </p:cNvPr>
          <p:cNvSpPr txBox="1"/>
          <p:nvPr/>
        </p:nvSpPr>
        <p:spPr>
          <a:xfrm>
            <a:off x="6626179" y="4350487"/>
            <a:ext cx="4810058" cy="89538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fontAlgn="auto">
              <a:spcAft>
                <a:spcPts val="0"/>
              </a:spcAft>
            </a:pPr>
            <a:r>
              <a:rPr lang="en-US" sz="16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T70</a:t>
            </a:r>
            <a:r>
              <a:rPr lang="en-US" sz="1600" b="1" dirty="0">
                <a:latin typeface="+mj-lt"/>
                <a:cs typeface="Arial" panose="020B0604020202020204" pitchFamily="34" charset="0"/>
              </a:rPr>
              <a:t> + GUIDED WORK SOLUTION </a:t>
            </a:r>
          </a:p>
          <a:p>
            <a:pPr fontAlgn="auto">
              <a:spcAft>
                <a:spcPts val="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rder picking, packing and fleet M&amp;I</a:t>
            </a:r>
          </a:p>
          <a:p>
            <a:pPr fontAlgn="auto">
              <a:spcAft>
                <a:spcPts val="0"/>
              </a:spcAft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BEA48A8-9FFC-1EA8-A94B-15EBD2970D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33615" y="5549239"/>
            <a:ext cx="817273" cy="5149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B96A438-F358-67F9-B38E-DF751B599F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50151" y="2924824"/>
            <a:ext cx="584200" cy="660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FA94944-B0E7-8997-258F-37435A0CFD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62851" y="1644366"/>
            <a:ext cx="558800" cy="6604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C25A4BF-F5F4-8346-C73B-C2963638A6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18401" y="4205282"/>
            <a:ext cx="647700" cy="7239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3E24BF-3C3A-D7F0-AFFA-91925951E45E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47000"/>
          </a:blip>
          <a:stretch>
            <a:fillRect/>
          </a:stretch>
        </p:blipFill>
        <p:spPr>
          <a:xfrm>
            <a:off x="2984023" y="5703824"/>
            <a:ext cx="311732" cy="400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86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8988F-C9A6-498F-B6F9-5D31A114C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484265"/>
            <a:ext cx="11201401" cy="419100"/>
          </a:xfrm>
        </p:spPr>
        <p:txBody>
          <a:bodyPr/>
          <a:lstStyle/>
          <a:p>
            <a:r>
              <a:rPr lang="en-US" dirty="0"/>
              <a:t>C</a:t>
            </a:r>
            <a:r>
              <a:rPr lang="en-US" altLang="zh-CN" dirty="0"/>
              <a:t>omprehensive Accessory Portfolio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193C56-0B8E-480F-8DBF-5813557E8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0903" y="6212332"/>
            <a:ext cx="496945" cy="23761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75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5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4BC4B75-C2CE-4AC3-9DF1-A2C3E9A5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64055"/>
              </p:ext>
            </p:extLst>
          </p:nvPr>
        </p:nvGraphicFramePr>
        <p:xfrm>
          <a:off x="489094" y="857409"/>
          <a:ext cx="3081781" cy="569706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19596">
                  <a:extLst>
                    <a:ext uri="{9D8B030D-6E8A-4147-A177-3AD203B41FA5}">
                      <a16:colId xmlns:a16="http://schemas.microsoft.com/office/drawing/2014/main" val="3588620523"/>
                    </a:ext>
                  </a:extLst>
                </a:gridCol>
                <a:gridCol w="813860">
                  <a:extLst>
                    <a:ext uri="{9D8B030D-6E8A-4147-A177-3AD203B41FA5}">
                      <a16:colId xmlns:a16="http://schemas.microsoft.com/office/drawing/2014/main" val="3483520610"/>
                    </a:ext>
                  </a:extLst>
                </a:gridCol>
                <a:gridCol w="1548325">
                  <a:extLst>
                    <a:ext uri="{9D8B030D-6E8A-4147-A177-3AD203B41FA5}">
                      <a16:colId xmlns:a16="http://schemas.microsoft.com/office/drawing/2014/main" val="2524639545"/>
                    </a:ext>
                  </a:extLst>
                </a:gridCol>
              </a:tblGrid>
              <a:tr h="269995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+mj-lt"/>
                        </a:rPr>
                        <a:t>ACCESSORY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+mj-lt"/>
                        </a:rPr>
                        <a:t>C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latin typeface="+mj-lt"/>
                        </a:rPr>
                        <a:t>HARGER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403550"/>
                  </a:ext>
                </a:extLst>
              </a:tr>
              <a:tr h="325174">
                <a:tc rowSpan="8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Universal Docks</a:t>
                      </a:r>
                    </a:p>
                    <a:p>
                      <a:pPr algn="l"/>
                      <a:r>
                        <a:rPr lang="en-US" sz="1000" dirty="0"/>
                        <a:t>(reused bas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4-bay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41793"/>
                  </a:ext>
                </a:extLst>
              </a:tr>
              <a:tr h="389993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4- bay Net Base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  <a:p>
                      <a:endParaRPr lang="en-US"/>
                    </a:p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963862"/>
                  </a:ext>
                </a:extLst>
              </a:tr>
              <a:tr h="3251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5-bay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0614418"/>
                  </a:ext>
                </a:extLst>
              </a:tr>
              <a:tr h="3899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5-bay Net base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097112"/>
                  </a:ext>
                </a:extLst>
              </a:tr>
              <a:tr h="325174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1 bay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5245804"/>
                  </a:ext>
                </a:extLst>
              </a:tr>
              <a:tr h="389993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Ethernet Base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379540"/>
                  </a:ext>
                </a:extLst>
              </a:tr>
              <a:tr h="389993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Display Do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5065679"/>
                  </a:ext>
                </a:extLst>
              </a:tr>
              <a:tr h="629988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QBC-4 bay or 16 b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4518434"/>
                  </a:ext>
                </a:extLst>
              </a:tr>
              <a:tr h="41358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Universal cup (CT70, spare battery, QBC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0495814"/>
                  </a:ext>
                </a:extLst>
              </a:tr>
              <a:tr h="471625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Metal rack</a:t>
                      </a:r>
                    </a:p>
                    <a:p>
                      <a:pPr algn="l"/>
                      <a:r>
                        <a:rPr lang="en-US" sz="1000" dirty="0"/>
                        <a:t>(reused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0770379"/>
                  </a:ext>
                </a:extLst>
              </a:tr>
              <a:tr h="417943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Wireless Vehicle dock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0296215"/>
                  </a:ext>
                </a:extLst>
              </a:tr>
              <a:tr h="411835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Wired Vehicle dock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7984235"/>
                  </a:ext>
                </a:extLst>
              </a:tr>
              <a:tr h="507201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Cigarette lighter </a:t>
                      </a:r>
                      <a:br>
                        <a:rPr lang="en-US" sz="1000" b="1" i="0" dirty="0">
                          <a:latin typeface="Arial" panose="020B0604020202020204" pitchFamily="34" charset="0"/>
                        </a:rPr>
                      </a:br>
                      <a:r>
                        <a:rPr lang="en-US" sz="1000" b="1" i="0" dirty="0">
                          <a:latin typeface="Arial" panose="020B0604020202020204" pitchFamily="34" charset="0"/>
                        </a:rPr>
                        <a:t>adapter (reused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5899786"/>
                  </a:ext>
                </a:extLst>
              </a:tr>
            </a:tbl>
          </a:graphicData>
        </a:graphic>
      </p:graphicFrame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5B00BB70-9ED6-4367-A108-FA307ED7C3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027253"/>
              </p:ext>
            </p:extLst>
          </p:nvPr>
        </p:nvGraphicFramePr>
        <p:xfrm>
          <a:off x="7774885" y="856472"/>
          <a:ext cx="3590538" cy="43472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01600">
                  <a:extLst>
                    <a:ext uri="{9D8B030D-6E8A-4147-A177-3AD203B41FA5}">
                      <a16:colId xmlns:a16="http://schemas.microsoft.com/office/drawing/2014/main" val="1427453016"/>
                    </a:ext>
                  </a:extLst>
                </a:gridCol>
                <a:gridCol w="2188938">
                  <a:extLst>
                    <a:ext uri="{9D8B030D-6E8A-4147-A177-3AD203B41FA5}">
                      <a16:colId xmlns:a16="http://schemas.microsoft.com/office/drawing/2014/main" val="2127428928"/>
                    </a:ext>
                  </a:extLst>
                </a:gridCol>
              </a:tblGrid>
              <a:tr h="267790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ACCESSORY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ENABLING SOLUTION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21273"/>
                  </a:ext>
                </a:extLst>
              </a:tr>
              <a:tr h="712998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ooted and </a:t>
                      </a:r>
                      <a:b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n-booted </a:t>
                      </a:r>
                      <a:b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n Hand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9268254"/>
                  </a:ext>
                </a:extLst>
              </a:tr>
              <a:tr h="614597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earable Kit</a:t>
                      </a:r>
                    </a:p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reused wrist ban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0161177"/>
                  </a:ext>
                </a:extLst>
              </a:tr>
              <a:tr h="722838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xtended batt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1248331"/>
                  </a:ext>
                </a:extLst>
              </a:tr>
              <a:tr h="672565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ireless batt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807718"/>
                  </a:ext>
                </a:extLst>
              </a:tr>
              <a:tr h="674971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ndard batt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3436597"/>
                  </a:ext>
                </a:extLst>
              </a:tr>
              <a:tr h="674971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H45 Sled (reused IH45 RFID gri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245183"/>
                  </a:ext>
                </a:extLst>
              </a:tr>
            </a:tbl>
          </a:graphicData>
        </a:graphic>
      </p:graphicFrame>
      <p:graphicFrame>
        <p:nvGraphicFramePr>
          <p:cNvPr id="20" name="Table 15">
            <a:extLst>
              <a:ext uri="{FF2B5EF4-FFF2-40B4-BE49-F238E27FC236}">
                <a16:creationId xmlns:a16="http://schemas.microsoft.com/office/drawing/2014/main" id="{3DC045EF-F9A1-405A-BC1A-78D164A01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554636"/>
              </p:ext>
            </p:extLst>
          </p:nvPr>
        </p:nvGraphicFramePr>
        <p:xfrm>
          <a:off x="3698721" y="856472"/>
          <a:ext cx="3948318" cy="569010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32945">
                  <a:extLst>
                    <a:ext uri="{9D8B030D-6E8A-4147-A177-3AD203B41FA5}">
                      <a16:colId xmlns:a16="http://schemas.microsoft.com/office/drawing/2014/main" val="1427453016"/>
                    </a:ext>
                  </a:extLst>
                </a:gridCol>
                <a:gridCol w="1915373">
                  <a:extLst>
                    <a:ext uri="{9D8B030D-6E8A-4147-A177-3AD203B41FA5}">
                      <a16:colId xmlns:a16="http://schemas.microsoft.com/office/drawing/2014/main" val="2127428928"/>
                    </a:ext>
                  </a:extLst>
                </a:gridCol>
              </a:tblGrid>
              <a:tr h="25762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ACCESSORY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MISC.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21273"/>
                  </a:ext>
                </a:extLst>
              </a:tr>
              <a:tr h="151307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tective Bo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9268254"/>
                  </a:ext>
                </a:extLst>
              </a:tr>
              <a:tr h="661067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B-C Headset (reus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0161177"/>
                  </a:ext>
                </a:extLst>
              </a:tr>
              <a:tr h="661067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reen Protector</a:t>
                      </a:r>
                    </a:p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</a:t>
                      </a:r>
                      <a:r>
                        <a:rPr lang="en-US" altLang="zh-CN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rning™ Gorilla™ Glass 7i</a:t>
                      </a:r>
                      <a:endParaRPr lang="en-US" sz="1000" b="1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1248331"/>
                  </a:ext>
                </a:extLst>
              </a:tr>
              <a:tr h="645788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B-C Cable (reus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550170"/>
                  </a:ext>
                </a:extLst>
              </a:tr>
              <a:tr h="679997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and strap (R</a:t>
                      </a:r>
                      <a:r>
                        <a:rPr lang="en-US" altLang="zh-CN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used</a:t>
                      </a:r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1996550"/>
                  </a:ext>
                </a:extLst>
              </a:tr>
              <a:tr h="671188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ylus (reus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9642393"/>
                  </a:ext>
                </a:extLst>
              </a:tr>
              <a:tr h="1182275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olster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1" i="0" dirty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582582"/>
                  </a:ext>
                </a:extLst>
              </a:tr>
            </a:tbl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C866C50E-07C5-41C7-82FF-FA04C3C45D7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3370" y="2108484"/>
            <a:ext cx="370453" cy="55333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E5CF8AE-4067-432C-A94A-43E631EBDC87}"/>
              </a:ext>
            </a:extLst>
          </p:cNvPr>
          <p:cNvPicPr/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856560" y="3454984"/>
            <a:ext cx="873985" cy="4011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A17D38E-B3D3-5AEF-988A-B0D85845DA2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7794" y="2597875"/>
            <a:ext cx="510053" cy="3700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BC3FC15-C7ED-AB9F-71EE-7ED13AE1F0F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166631">
            <a:off x="2417781" y="2955829"/>
            <a:ext cx="510079" cy="37009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8FF1F26-D3B6-5772-1475-B944D0C68C7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6917" y="1938571"/>
            <a:ext cx="711807" cy="51645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B3DADFA-7D50-8B74-5165-B1CBE7F76AE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4841" y="3242976"/>
            <a:ext cx="355959" cy="47738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442516BF-0C04-9CE0-4E3C-ABAF3A5806A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1583" y="4351549"/>
            <a:ext cx="535462" cy="3885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DB5C0AC-A28D-7F77-C5F3-254B16D87921}"/>
              </a:ext>
            </a:extLst>
          </p:cNvPr>
          <p:cNvPicPr/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12657">
            <a:off x="6312463" y="4218114"/>
            <a:ext cx="759406" cy="2458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50D44DE-EF37-3ABF-F187-BD0718181030}"/>
              </a:ext>
            </a:extLst>
          </p:cNvPr>
          <p:cNvPicPr/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9888" y="4770130"/>
            <a:ext cx="769803" cy="56274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EEFE0F0-A431-7BDA-FC34-2C440E9C5E3A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0469" y="1266401"/>
            <a:ext cx="844703" cy="46587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214E831-A3C6-9B8D-0EBA-722D24689C6A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45469"/>
          <a:stretch/>
        </p:blipFill>
        <p:spPr>
          <a:xfrm>
            <a:off x="2678635" y="5252215"/>
            <a:ext cx="198050" cy="39112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74D33AF6-8151-1A01-7D20-AA0074F3395A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6523" y="6135294"/>
            <a:ext cx="484708" cy="31551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4C83509-BC49-DBFB-124D-A3A82502F131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17409" y="4850455"/>
            <a:ext cx="810705" cy="28260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5E7A7C4-4C67-B276-CBD0-E76E831DA4FD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78338" y="3749389"/>
            <a:ext cx="788964" cy="4656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D72292-55D7-CAAC-0B21-3953ED4E35A4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92048" y="3423657"/>
            <a:ext cx="715287" cy="55333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B66E67B-2CDE-2307-B7BA-7A7AC3558DE4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63574" y="4383957"/>
            <a:ext cx="375530" cy="29154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6445CAE-850C-3EFB-D3FF-9C281D99CA78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54127" y="4414829"/>
            <a:ext cx="541170" cy="248093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A7E99F75-9EA3-395C-A2E6-1FBCDD0B613B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39807" y="5653443"/>
            <a:ext cx="258141" cy="39112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6944F630-B40D-979F-B273-C98B3463EA5E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22176" y="1219295"/>
            <a:ext cx="370453" cy="70673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90E0CE4-3D4C-941C-842B-537EDB52EA91}"/>
              </a:ext>
            </a:extLst>
          </p:cNvPr>
          <p:cNvGrpSpPr/>
          <p:nvPr/>
        </p:nvGrpSpPr>
        <p:grpSpPr>
          <a:xfrm>
            <a:off x="9556583" y="1208404"/>
            <a:ext cx="1388091" cy="3890174"/>
            <a:chOff x="5594165" y="1208404"/>
            <a:chExt cx="1388091" cy="3890174"/>
          </a:xfrm>
        </p:grpSpPr>
        <p:pic>
          <p:nvPicPr>
            <p:cNvPr id="26" name="Content Placeholder 3">
              <a:extLst>
                <a:ext uri="{FF2B5EF4-FFF2-40B4-BE49-F238E27FC236}">
                  <a16:creationId xmlns:a16="http://schemas.microsoft.com/office/drawing/2014/main" id="{78A6FA90-8706-49E6-A5E2-4271B43F07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screen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>
              <a:off x="5726504" y="4668731"/>
              <a:ext cx="450101" cy="429847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25DFCC78-96A9-D4B3-47E7-65A3F43B9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clrChange>
                <a:clrFrom>
                  <a:srgbClr val="FFFFFF">
                    <a:alpha val="0"/>
                  </a:srgbClr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785" y="1875958"/>
              <a:ext cx="819998" cy="607254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ACF9486-8D7C-75AC-D483-9C2E82CC4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4165" y="1208404"/>
              <a:ext cx="822144" cy="59651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53D7AD5-5AF2-A5A3-60BA-8170E419E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60112" y="1208404"/>
              <a:ext cx="822144" cy="59651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02C9BE-8520-129B-7811-2A3B542FDAE3}"/>
                </a:ext>
              </a:extLst>
            </p:cNvPr>
            <p:cNvPicPr/>
            <p:nvPr/>
          </p:nvPicPr>
          <p:blipFill>
            <a:blip r:embed="rId2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16309" y="4668731"/>
              <a:ext cx="509808" cy="341882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40164FE-D296-3E99-3F97-FF78DC455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91427" y="2516498"/>
              <a:ext cx="387923" cy="624669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B73289F0-EF40-36C7-BC5F-6F68BDDA4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100933" y="3207001"/>
              <a:ext cx="418217" cy="652059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8635867-542A-1998-B1D6-06073442E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135926" y="3897124"/>
              <a:ext cx="372994" cy="588234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8480F730-04E1-4A6E-A847-504CCEB804B8}"/>
              </a:ext>
            </a:extLst>
          </p:cNvPr>
          <p:cNvSpPr txBox="1"/>
          <p:nvPr/>
        </p:nvSpPr>
        <p:spPr>
          <a:xfrm>
            <a:off x="7691758" y="5261858"/>
            <a:ext cx="616979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Gorilla</a:t>
            </a:r>
            <a:r>
              <a: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s a trademark of </a:t>
            </a:r>
            <a:r>
              <a:rPr lang="en-US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ning</a:t>
            </a:r>
            <a:endParaRPr kumimoji="0" lang="en-US" sz="800" b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" name="Picture 16" descr="A black case with a black cover&#10;&#10;AI-generated content may be incorrect.">
            <a:extLst>
              <a:ext uri="{FF2B5EF4-FFF2-40B4-BE49-F238E27FC236}">
                <a16:creationId xmlns:a16="http://schemas.microsoft.com/office/drawing/2014/main" id="{920D5A42-CAB6-3776-FE34-3B346EE96ABC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889" y="5477302"/>
            <a:ext cx="513800" cy="924840"/>
          </a:xfrm>
          <a:prstGeom prst="rect">
            <a:avLst/>
          </a:prstGeom>
        </p:spPr>
      </p:pic>
      <p:pic>
        <p:nvPicPr>
          <p:cNvPr id="19" name="Picture 18" descr="A white pillow on a black background&#10;&#10;AI-generated content may be incorrect.">
            <a:extLst>
              <a:ext uri="{FF2B5EF4-FFF2-40B4-BE49-F238E27FC236}">
                <a16:creationId xmlns:a16="http://schemas.microsoft.com/office/drawing/2014/main" id="{EBEC89E4-9DAA-1D2C-A8DB-153D61D1355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281" y="2738482"/>
            <a:ext cx="954241" cy="639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96A9ADA-00F4-C449-BB56-8FCBB8C8A57A}"/>
              </a:ext>
            </a:extLst>
          </p:cNvPr>
          <p:cNvSpPr/>
          <p:nvPr/>
        </p:nvSpPr>
        <p:spPr>
          <a:xfrm>
            <a:off x="495299" y="5050196"/>
            <a:ext cx="11253991" cy="1185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5299" y="551172"/>
            <a:ext cx="11201401" cy="4191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Arial Black"/>
              </a:rPr>
              <a:t>Mobility Edge™</a:t>
            </a:r>
            <a:br>
              <a:rPr lang="en-US" dirty="0">
                <a:latin typeface="Arial Black"/>
              </a:rPr>
            </a:br>
            <a:r>
              <a:rPr lang="en-US" sz="1600" b="1" cap="none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 Durable, Stable, Secure Foundatio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2A06640-C694-6A43-84BE-E792D13FD79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640083" y="5231484"/>
            <a:ext cx="2928665" cy="879637"/>
          </a:xfrm>
        </p:spPr>
        <p:txBody>
          <a:bodyPr vert="horz" lIns="0" tIns="0" rIns="0" bIns="0" rtlCol="0">
            <a:noAutofit/>
          </a:bodyPr>
          <a:lstStyle/>
          <a:p>
            <a:pPr defTabSz="914400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Durable, stable, secure platform</a:t>
            </a:r>
          </a:p>
          <a:p>
            <a:pPr defTabSz="914400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Continuous Android compatibility</a:t>
            </a:r>
          </a:p>
          <a:p>
            <a:pPr defTabSz="914400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ngest SW and HW support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4022674" y="5149146"/>
            <a:ext cx="171450" cy="1005840"/>
            <a:chOff x="4267200" y="4919309"/>
            <a:chExt cx="171450" cy="1005840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4267200" y="4919309"/>
              <a:ext cx="0" cy="100584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Isosceles Triangle 26"/>
            <p:cNvSpPr/>
            <p:nvPr/>
          </p:nvSpPr>
          <p:spPr>
            <a:xfrm rot="5400000">
              <a:off x="4228031" y="5336504"/>
              <a:ext cx="249788" cy="1714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" name="Subtitle 4">
            <a:extLst>
              <a:ext uri="{FF2B5EF4-FFF2-40B4-BE49-F238E27FC236}">
                <a16:creationId xmlns:a16="http://schemas.microsoft.com/office/drawing/2014/main" id="{A2A06640-C694-6A43-84BE-E792D13FD79D}"/>
              </a:ext>
            </a:extLst>
          </p:cNvPr>
          <p:cNvSpPr txBox="1">
            <a:spLocks/>
          </p:cNvSpPr>
          <p:nvPr/>
        </p:nvSpPr>
        <p:spPr>
          <a:xfrm>
            <a:off x="4447359" y="5231484"/>
            <a:ext cx="3554556" cy="9227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>
                <a:latin typeface="+mn-lt"/>
              </a:defRPr>
            </a:lvl2pPr>
            <a:lvl3pPr marL="228600" indent="-22860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>
                <a:latin typeface="+mn-lt"/>
              </a:defRPr>
            </a:lvl3pPr>
            <a:lvl4pPr marL="460375" indent="-22860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>
                <a:latin typeface="+mn-lt"/>
              </a:defRPr>
            </a:lvl4pPr>
            <a:lvl5pPr marL="0" indent="0" defTabSz="91440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baseline="0">
                <a:solidFill>
                  <a:schemeClr val="accent1"/>
                </a:solidFill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cure product, policy and pract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ward compatible architec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ement &amp; deployment SW eco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ubtitle 4">
            <a:extLst>
              <a:ext uri="{FF2B5EF4-FFF2-40B4-BE49-F238E27FC236}">
                <a16:creationId xmlns:a16="http://schemas.microsoft.com/office/drawing/2014/main" id="{A2A06640-C694-6A43-84BE-E792D13FD79D}"/>
              </a:ext>
            </a:extLst>
          </p:cNvPr>
          <p:cNvSpPr txBox="1">
            <a:spLocks/>
          </p:cNvSpPr>
          <p:nvPr/>
        </p:nvSpPr>
        <p:spPr>
          <a:xfrm>
            <a:off x="8547979" y="5231484"/>
            <a:ext cx="2989371" cy="8280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>
                <a:latin typeface="+mn-lt"/>
              </a:defRPr>
            </a:lvl2pPr>
            <a:lvl3pPr marL="228600" indent="-22860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>
                <a:latin typeface="+mn-lt"/>
              </a:defRPr>
            </a:lvl3pPr>
            <a:lvl4pPr marL="460375" indent="-22860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>
                <a:latin typeface="+mn-lt"/>
              </a:defRPr>
            </a:lvl4pPr>
            <a:lvl5pPr marL="0" indent="0" defTabSz="91440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baseline="0">
                <a:solidFill>
                  <a:schemeClr val="accent1"/>
                </a:solidFill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aster time-to-val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% reduction in lifetime T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p to 66% deployment cost reduction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8169325" y="5148409"/>
            <a:ext cx="171450" cy="1005840"/>
            <a:chOff x="4267200" y="4919309"/>
            <a:chExt cx="171450" cy="1005840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4267200" y="4919309"/>
              <a:ext cx="0" cy="100584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Isosceles Triangle 32"/>
            <p:cNvSpPr/>
            <p:nvPr/>
          </p:nvSpPr>
          <p:spPr>
            <a:xfrm rot="5400000">
              <a:off x="4228031" y="5336504"/>
              <a:ext cx="249788" cy="1714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C7C243A6-BEB1-40C3-9EDA-089BCD9D8624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3488173" y="5172123"/>
            <a:ext cx="363051" cy="36305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F8EE5F88-4CAF-4362-AAE8-F0A83D7FE9D8}"/>
              </a:ext>
            </a:extLst>
          </p:cNvPr>
          <p:cNvSpPr/>
          <p:nvPr/>
        </p:nvSpPr>
        <p:spPr>
          <a:xfrm>
            <a:off x="7626702" y="5172123"/>
            <a:ext cx="376513" cy="349728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kumimoji="0" lang="en-US" sz="1600" b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</a:t>
            </a: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DEDAF72E-67D7-4981-A083-8E5EF72AD3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5131" y="5172123"/>
            <a:ext cx="396134" cy="30948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76975F-334B-4F3E-BE79-1EE16A91F1AF}"/>
              </a:ext>
            </a:extLst>
          </p:cNvPr>
          <p:cNvGrpSpPr/>
          <p:nvPr/>
        </p:nvGrpSpPr>
        <p:grpSpPr>
          <a:xfrm>
            <a:off x="482312" y="1552756"/>
            <a:ext cx="11334750" cy="3157393"/>
            <a:chOff x="1102734" y="1700985"/>
            <a:chExt cx="9875789" cy="2683472"/>
          </a:xfrm>
        </p:grpSpPr>
        <p:sp>
          <p:nvSpPr>
            <p:cNvPr id="35" name="Round Diagonal Corner Rectangle 30">
              <a:extLst>
                <a:ext uri="{FF2B5EF4-FFF2-40B4-BE49-F238E27FC236}">
                  <a16:creationId xmlns:a16="http://schemas.microsoft.com/office/drawing/2014/main" id="{A4A1FD72-EE76-451E-A3A5-B304F8E3EFCC}"/>
                </a:ext>
              </a:extLst>
            </p:cNvPr>
            <p:cNvSpPr/>
            <p:nvPr/>
          </p:nvSpPr>
          <p:spPr>
            <a:xfrm>
              <a:off x="1120697" y="1993308"/>
              <a:ext cx="3215280" cy="2056201"/>
            </a:xfrm>
            <a:prstGeom prst="round2DiagRect">
              <a:avLst>
                <a:gd name="adj1" fmla="val 0"/>
                <a:gd name="adj2" fmla="val 13039"/>
              </a:avLst>
            </a:prstGeom>
            <a:gradFill flip="none" rotWithShape="1">
              <a:gsLst>
                <a:gs pos="14000">
                  <a:srgbClr val="FFFFFF">
                    <a:lumMod val="8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ound Diagonal Corner Rectangle 30">
              <a:extLst>
                <a:ext uri="{FF2B5EF4-FFF2-40B4-BE49-F238E27FC236}">
                  <a16:creationId xmlns:a16="http://schemas.microsoft.com/office/drawing/2014/main" id="{307879E9-F9A9-4A43-980B-021153837E46}"/>
                </a:ext>
              </a:extLst>
            </p:cNvPr>
            <p:cNvSpPr/>
            <p:nvPr/>
          </p:nvSpPr>
          <p:spPr>
            <a:xfrm>
              <a:off x="4447359" y="2151332"/>
              <a:ext cx="3214512" cy="2004970"/>
            </a:xfrm>
            <a:prstGeom prst="round2DiagRect">
              <a:avLst>
                <a:gd name="adj1" fmla="val 0"/>
                <a:gd name="adj2" fmla="val 13039"/>
              </a:avLst>
            </a:prstGeom>
            <a:gradFill flip="none" rotWithShape="1">
              <a:gsLst>
                <a:gs pos="14000">
                  <a:srgbClr val="FFFFFF">
                    <a:lumMod val="8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ound Diagonal Corner Rectangle 30">
              <a:extLst>
                <a:ext uri="{FF2B5EF4-FFF2-40B4-BE49-F238E27FC236}">
                  <a16:creationId xmlns:a16="http://schemas.microsoft.com/office/drawing/2014/main" id="{8E9D49A8-9026-4B9A-AE41-EAAFBDC24BFB}"/>
                </a:ext>
              </a:extLst>
            </p:cNvPr>
            <p:cNvSpPr/>
            <p:nvPr/>
          </p:nvSpPr>
          <p:spPr>
            <a:xfrm>
              <a:off x="7784952" y="2044539"/>
              <a:ext cx="3193571" cy="2004970"/>
            </a:xfrm>
            <a:prstGeom prst="round2DiagRect">
              <a:avLst>
                <a:gd name="adj1" fmla="val 0"/>
                <a:gd name="adj2" fmla="val 13039"/>
              </a:avLst>
            </a:prstGeom>
            <a:gradFill flip="none" rotWithShape="1">
              <a:gsLst>
                <a:gs pos="14000">
                  <a:srgbClr val="FFFFFF">
                    <a:lumMod val="8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Arrow: Pentagon 37">
              <a:extLst>
                <a:ext uri="{FF2B5EF4-FFF2-40B4-BE49-F238E27FC236}">
                  <a16:creationId xmlns:a16="http://schemas.microsoft.com/office/drawing/2014/main" id="{763A2943-86F3-487A-B6B9-9744D4F03B42}"/>
                </a:ext>
              </a:extLst>
            </p:cNvPr>
            <p:cNvSpPr/>
            <p:nvPr/>
          </p:nvSpPr>
          <p:spPr>
            <a:xfrm rot="5400000">
              <a:off x="2530119" y="2579044"/>
              <a:ext cx="388497" cy="3222329"/>
            </a:xfrm>
            <a:prstGeom prst="homePlate">
              <a:avLst/>
            </a:prstGeom>
            <a:solidFill>
              <a:srgbClr val="707070"/>
            </a:solidFill>
            <a:ln w="1270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Arrow: Pentagon 38">
              <a:extLst>
                <a:ext uri="{FF2B5EF4-FFF2-40B4-BE49-F238E27FC236}">
                  <a16:creationId xmlns:a16="http://schemas.microsoft.com/office/drawing/2014/main" id="{10484AAF-7C92-4DE2-8922-3D20D0DDFB0D}"/>
                </a:ext>
              </a:extLst>
            </p:cNvPr>
            <p:cNvSpPr/>
            <p:nvPr/>
          </p:nvSpPr>
          <p:spPr>
            <a:xfrm rot="5400000">
              <a:off x="5862534" y="2583284"/>
              <a:ext cx="388499" cy="3213847"/>
            </a:xfrm>
            <a:prstGeom prst="homePlate">
              <a:avLst/>
            </a:prstGeom>
            <a:solidFill>
              <a:srgbClr val="707070"/>
            </a:solidFill>
            <a:ln w="1270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CBE5346F-3B9F-467E-96C7-13230102260F}"/>
                </a:ext>
              </a:extLst>
            </p:cNvPr>
            <p:cNvSpPr/>
            <p:nvPr/>
          </p:nvSpPr>
          <p:spPr>
            <a:xfrm rot="5400000">
              <a:off x="9187489" y="2593423"/>
              <a:ext cx="388498" cy="3193570"/>
            </a:xfrm>
            <a:prstGeom prst="homePlate">
              <a:avLst/>
            </a:prstGeom>
            <a:solidFill>
              <a:srgbClr val="707070"/>
            </a:solidFill>
            <a:ln w="1270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1" name="Rectangle 3">
              <a:extLst>
                <a:ext uri="{FF2B5EF4-FFF2-40B4-BE49-F238E27FC236}">
                  <a16:creationId xmlns:a16="http://schemas.microsoft.com/office/drawing/2014/main" id="{6F759F5C-FD5B-44C9-87B3-5A43CF61B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0697" y="1700985"/>
              <a:ext cx="3214836" cy="74023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ndroid-Based, Uniform Software/Hardware Platform</a:t>
              </a:r>
            </a:p>
          </p:txBody>
        </p:sp>
        <p:sp>
          <p:nvSpPr>
            <p:cNvPr id="42" name="Rectangle 3">
              <a:extLst>
                <a:ext uri="{FF2B5EF4-FFF2-40B4-BE49-F238E27FC236}">
                  <a16:creationId xmlns:a16="http://schemas.microsoft.com/office/drawing/2014/main" id="{48789341-2D94-414D-B487-655037191F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2671" y="1700985"/>
              <a:ext cx="3193570" cy="7402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est Available Security and Lifecycle Duration</a:t>
              </a:r>
            </a:p>
          </p:txBody>
        </p:sp>
        <p:sp>
          <p:nvSpPr>
            <p:cNvPr id="43" name="Rectangle 3">
              <a:extLst>
                <a:ext uri="{FF2B5EF4-FFF2-40B4-BE49-F238E27FC236}">
                  <a16:creationId xmlns:a16="http://schemas.microsoft.com/office/drawing/2014/main" id="{286FB9EC-678E-4FD7-BFEE-91CF7CFEA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917" y="1700985"/>
              <a:ext cx="3207954" cy="7402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eployment and Performance   Optimizing Tools</a:t>
              </a:r>
              <a:endParaRPr kumimoji="0" lang="en-US" alt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52" name="Picture 51" descr="Data Capture-k.png">
              <a:extLst>
                <a:ext uri="{FF2B5EF4-FFF2-40B4-BE49-F238E27FC236}">
                  <a16:creationId xmlns:a16="http://schemas.microsoft.com/office/drawing/2014/main" id="{10C478EA-EAEE-418C-9316-E3A706689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5183" y="2657883"/>
              <a:ext cx="529859" cy="505956"/>
            </a:xfrm>
            <a:prstGeom prst="rect">
              <a:avLst/>
            </a:prstGeom>
          </p:spPr>
        </p:pic>
        <p:pic>
          <p:nvPicPr>
            <p:cNvPr id="53" name="Picture 52" descr="towers-k.png">
              <a:extLst>
                <a:ext uri="{FF2B5EF4-FFF2-40B4-BE49-F238E27FC236}">
                  <a16:creationId xmlns:a16="http://schemas.microsoft.com/office/drawing/2014/main" id="{9D6062A2-A1D7-4CF4-8285-3F9049725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88900" y="2613593"/>
              <a:ext cx="620045" cy="469757"/>
            </a:xfrm>
            <a:prstGeom prst="rect">
              <a:avLst/>
            </a:prstGeom>
          </p:spPr>
        </p:pic>
        <p:pic>
          <p:nvPicPr>
            <p:cNvPr id="54" name="Picture 53" descr="Cloud-k.png">
              <a:extLst>
                <a:ext uri="{FF2B5EF4-FFF2-40B4-BE49-F238E27FC236}">
                  <a16:creationId xmlns:a16="http://schemas.microsoft.com/office/drawing/2014/main" id="{C3F2D660-FC9E-4305-833E-A92F0F320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4770" y="3345861"/>
              <a:ext cx="830177" cy="497393"/>
            </a:xfrm>
            <a:prstGeom prst="rect">
              <a:avLst/>
            </a:prstGeom>
          </p:spPr>
        </p:pic>
        <p:pic>
          <p:nvPicPr>
            <p:cNvPr id="55" name="Picture 54" descr="2 batteries-k.png">
              <a:extLst>
                <a:ext uri="{FF2B5EF4-FFF2-40B4-BE49-F238E27FC236}">
                  <a16:creationId xmlns:a16="http://schemas.microsoft.com/office/drawing/2014/main" id="{7904FA0A-7BF8-42D0-B7D0-35370AC453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4939" y="2566738"/>
              <a:ext cx="538161" cy="572815"/>
            </a:xfrm>
            <a:prstGeom prst="rect">
              <a:avLst/>
            </a:prstGeom>
          </p:spPr>
        </p:pic>
        <p:pic>
          <p:nvPicPr>
            <p:cNvPr id="56" name="Picture 55" descr="box checkmark-k.png">
              <a:extLst>
                <a:ext uri="{FF2B5EF4-FFF2-40B4-BE49-F238E27FC236}">
                  <a16:creationId xmlns:a16="http://schemas.microsoft.com/office/drawing/2014/main" id="{A2763E1A-B8F8-4B41-B9DF-9FB4FED26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98139" y="3311505"/>
              <a:ext cx="545082" cy="584861"/>
            </a:xfrm>
            <a:prstGeom prst="rect">
              <a:avLst/>
            </a:prstGeom>
          </p:spPr>
        </p:pic>
        <p:pic>
          <p:nvPicPr>
            <p:cNvPr id="57" name="Picture 56" descr="lock-k.png">
              <a:extLst>
                <a:ext uri="{FF2B5EF4-FFF2-40B4-BE49-F238E27FC236}">
                  <a16:creationId xmlns:a16="http://schemas.microsoft.com/office/drawing/2014/main" id="{FFA24599-402F-4BD3-968D-23C85C13F29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67575" y="3294525"/>
              <a:ext cx="421071" cy="593577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A282BA8-97BA-476A-8CE8-C7CE0923F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2734" y="2693278"/>
              <a:ext cx="3214837" cy="809177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FAEBFC-FCF4-4DB2-AA77-3B703247CF4A}"/>
                </a:ext>
              </a:extLst>
            </p:cNvPr>
            <p:cNvSpPr txBox="1"/>
            <p:nvPr/>
          </p:nvSpPr>
          <p:spPr>
            <a:xfrm>
              <a:off x="1236669" y="3431291"/>
              <a:ext cx="2946976" cy="1831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&gt;15 Mobility Edge model lines deployed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37479092-AE43-430D-90BB-E23A9CA44495}"/>
              </a:ext>
            </a:extLst>
          </p:cNvPr>
          <p:cNvSpPr/>
          <p:nvPr/>
        </p:nvSpPr>
        <p:spPr>
          <a:xfrm>
            <a:off x="411323" y="6293037"/>
            <a:ext cx="180850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ndroid is a trademark of Google LLC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9F211939-171A-4623-B466-AAEEDDF9CCF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3095" y="3101811"/>
            <a:ext cx="1426565" cy="53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18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817D3-3F20-57AB-625F-7136C1CEB5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1BCC6-1284-8194-8810-ADC312E85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550624"/>
            <a:ext cx="11446495" cy="571695"/>
          </a:xfrm>
        </p:spPr>
        <p:txBody>
          <a:bodyPr/>
          <a:lstStyle/>
          <a:p>
            <a:r>
              <a:rPr lang="en-US" dirty="0"/>
              <a:t>CT70 On the Mobility Edge Platform</a:t>
            </a:r>
            <a:br>
              <a:rPr lang="en-US" sz="2800" dirty="0"/>
            </a:br>
            <a:r>
              <a:rPr lang="en-US" sz="1800" b="1" cap="none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Future Compatible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8746-98BD-9BDF-5535-BDC640F65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3D2B0B-3924-E48C-CEF8-6B26F35F71DF}"/>
              </a:ext>
            </a:extLst>
          </p:cNvPr>
          <p:cNvSpPr txBox="1"/>
          <p:nvPr/>
        </p:nvSpPr>
        <p:spPr>
          <a:xfrm>
            <a:off x="495300" y="6197160"/>
            <a:ext cx="6728575" cy="4824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60325" marR="0" lvl="0" indent="-60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s are estimates subject to change. HW availability and service is subject to the availability of parts from suppliers</a:t>
            </a:r>
          </a:p>
          <a:p>
            <a:pPr marL="60325" marR="0" lvl="0" indent="-60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W Service and Android Support is offered as part of a Service Contract </a:t>
            </a:r>
          </a:p>
          <a:p>
            <a:pPr marL="60325" marR="0" lvl="0" indent="-60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roid is a trademark of Google LLC</a:t>
            </a:r>
          </a:p>
          <a:p>
            <a:pPr marL="60325" marR="0" lvl="0" indent="-60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all SKUs have sufficient memory capacity to run all versions of Android. Verify configuration compatibility with chosen softwar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177ABDE-CA64-1407-75ED-155C7C1C2F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361547"/>
              </p:ext>
            </p:extLst>
          </p:nvPr>
        </p:nvGraphicFramePr>
        <p:xfrm>
          <a:off x="495300" y="1447037"/>
          <a:ext cx="9329641" cy="45812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324">
                  <a:extLst>
                    <a:ext uri="{9D8B030D-6E8A-4147-A177-3AD203B41FA5}">
                      <a16:colId xmlns:a16="http://schemas.microsoft.com/office/drawing/2014/main" val="2556706767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1169918212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635857018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3566097329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294021196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2506873898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309928761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3333011424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2831894723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3968086718"/>
                    </a:ext>
                  </a:extLst>
                </a:gridCol>
                <a:gridCol w="493077">
                  <a:extLst>
                    <a:ext uri="{9D8B030D-6E8A-4147-A177-3AD203B41FA5}">
                      <a16:colId xmlns:a16="http://schemas.microsoft.com/office/drawing/2014/main" val="1810445708"/>
                    </a:ext>
                  </a:extLst>
                </a:gridCol>
                <a:gridCol w="803324">
                  <a:extLst>
                    <a:ext uri="{9D8B030D-6E8A-4147-A177-3AD203B41FA5}">
                      <a16:colId xmlns:a16="http://schemas.microsoft.com/office/drawing/2014/main" val="3600905457"/>
                    </a:ext>
                  </a:extLst>
                </a:gridCol>
              </a:tblGrid>
              <a:tr h="651782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28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29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5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172902"/>
                  </a:ext>
                </a:extLst>
              </a:tr>
              <a:tr h="651782"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roid 15 </a:t>
                      </a:r>
                    </a:p>
                    <a:p>
                      <a:r>
                        <a:rPr lang="en-US" sz="12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N support using Google Security Patche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AF2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neywell Android Servic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554624"/>
                  </a:ext>
                </a:extLst>
              </a:tr>
              <a:tr h="651782"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roid 1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AF2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320561"/>
                  </a:ext>
                </a:extLst>
              </a:tr>
              <a:tr h="651782"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roid 1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AF2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781772"/>
                  </a:ext>
                </a:extLst>
              </a:tr>
              <a:tr h="651782"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roid 18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AF2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573454"/>
                  </a:ext>
                </a:extLst>
              </a:tr>
              <a:tr h="651782"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roid 19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AF2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neywell Android Servic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433541"/>
                  </a:ext>
                </a:extLst>
              </a:tr>
              <a:tr h="651782">
                <a:tc gridSpan="6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vailability for purchase </a:t>
                      </a:r>
                      <a:r>
                        <a:rPr lang="en-US" altLang="zh-CN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2031+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neywell Hardware Service to 2036+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A5A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623501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4857E2A-529E-2116-192B-DF702200C9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92" t="9826" r="25617" b="10208"/>
          <a:stretch>
            <a:fillRect/>
          </a:stretch>
        </p:blipFill>
        <p:spPr>
          <a:xfrm>
            <a:off x="9126716" y="1328988"/>
            <a:ext cx="3020314" cy="4909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79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72D92C-6B45-4D6E-91A9-17E95838428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95300" y="1414230"/>
            <a:ext cx="5105400" cy="3200400"/>
          </a:xfrm>
          <a:noFill/>
          <a:effectLst/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/>
              <a:t>Maintain 4 pillars of</a:t>
            </a:r>
            <a:r>
              <a:rPr lang="zh-CN" altLang="en-US" sz="1600" dirty="0"/>
              <a:t> </a:t>
            </a:r>
            <a:r>
              <a:rPr lang="en-US" altLang="zh-CN" sz="1600" dirty="0"/>
              <a:t>Mobility</a:t>
            </a:r>
            <a:r>
              <a:rPr lang="zh-CN" altLang="en-US" sz="1600" dirty="0"/>
              <a:t> </a:t>
            </a:r>
            <a:r>
              <a:rPr lang="en-US" altLang="zh-CN" sz="1600" dirty="0"/>
              <a:t>Edge</a:t>
            </a:r>
            <a:endParaRPr lang="en-US" sz="1600" dirty="0"/>
          </a:p>
          <a:p>
            <a:pPr marL="229870" lvl="1" indent="-229870"/>
            <a:r>
              <a:rPr lang="en-US" sz="1400" dirty="0"/>
              <a:t>Unmatched </a:t>
            </a:r>
            <a:r>
              <a:rPr lang="en-US" altLang="zh-CN" sz="1400" dirty="0"/>
              <a:t>l</a:t>
            </a:r>
            <a:r>
              <a:rPr lang="en-US" sz="1400" dirty="0"/>
              <a:t>ifecycle and security, certainty and duration</a:t>
            </a:r>
            <a:endParaRPr lang="en-US" sz="1400" dirty="0">
              <a:cs typeface="Arial" panose="020B0604020202020204" pitchFamily="34" charset="0"/>
            </a:endParaRPr>
          </a:p>
          <a:p>
            <a:pPr lvl="2" indent="-245745"/>
            <a:r>
              <a:rPr lang="en-US" sz="1400" dirty="0"/>
              <a:t>Commit Android versions as long as possible, in collaboration with Qualcomm and Google.</a:t>
            </a:r>
            <a:endParaRPr lang="en-US" sz="1400" dirty="0">
              <a:cs typeface="Arial" panose="020B0604020202020204" pitchFamily="34" charset="0"/>
            </a:endParaRPr>
          </a:p>
          <a:p>
            <a:pPr marL="229870" lvl="1" indent="-229870"/>
            <a:r>
              <a:rPr lang="en-US" sz="1400" dirty="0"/>
              <a:t>Accelerate Deployments</a:t>
            </a:r>
            <a:endParaRPr lang="en-US" sz="1400" dirty="0">
              <a:cs typeface="Arial" panose="020B0604020202020204" pitchFamily="34" charset="0"/>
            </a:endParaRPr>
          </a:p>
          <a:p>
            <a:pPr lvl="2" indent="-245745"/>
            <a:r>
              <a:rPr lang="en-US" sz="1400" dirty="0"/>
              <a:t>Provisioning and device management tools compatible across the platforms</a:t>
            </a:r>
            <a:endParaRPr lang="en-US" sz="1400" dirty="0">
              <a:cs typeface="Arial" panose="020B0604020202020204" pitchFamily="34" charset="0"/>
            </a:endParaRPr>
          </a:p>
          <a:p>
            <a:pPr lvl="2" indent="-245745"/>
            <a:r>
              <a:rPr lang="en-US" sz="1400" dirty="0"/>
              <a:t>Universal dock platform with a CT70 universal cup</a:t>
            </a:r>
            <a:endParaRPr lang="en-US" sz="1400" dirty="0">
              <a:cs typeface="Arial" panose="020B0604020202020204" pitchFamily="34" charset="0"/>
            </a:endParaRPr>
          </a:p>
          <a:p>
            <a:pPr marL="229870" lvl="1" indent="-229870"/>
            <a:r>
              <a:rPr lang="en-US" sz="1400" dirty="0"/>
              <a:t>Optimize Performance</a:t>
            </a:r>
            <a:endParaRPr lang="en-US" sz="1400" dirty="0">
              <a:cs typeface="Arial" panose="020B0604020202020204" pitchFamily="34" charset="0"/>
            </a:endParaRPr>
          </a:p>
          <a:p>
            <a:pPr lvl="2" indent="-245745"/>
            <a:r>
              <a:rPr lang="en-US" sz="1400" dirty="0"/>
              <a:t>Tools, applications, SDKs, APIs, MDM - compatible across the platform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6" name="Lifecycle text">
            <a:extLst>
              <a:ext uri="{FF2B5EF4-FFF2-40B4-BE49-F238E27FC236}">
                <a16:creationId xmlns:a16="http://schemas.microsoft.com/office/drawing/2014/main" id="{C497A42F-6BEA-4168-9A3B-12DE0173FB11}"/>
              </a:ext>
            </a:extLst>
          </p:cNvPr>
          <p:cNvSpPr txBox="1">
            <a:spLocks/>
          </p:cNvSpPr>
          <p:nvPr/>
        </p:nvSpPr>
        <p:spPr>
          <a:xfrm>
            <a:off x="6866701" y="5418541"/>
            <a:ext cx="2100304" cy="22237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cap="all">
                <a:solidFill>
                  <a:schemeClr val="bg1"/>
                </a:solidFill>
                <a:latin typeface="Honeywell Cond Web" panose="020B0506030202060103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600"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»"/>
              <a:defRPr sz="1400"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E1261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Extend Lifecycle</a:t>
            </a:r>
          </a:p>
        </p:txBody>
      </p:sp>
      <p:sp>
        <p:nvSpPr>
          <p:cNvPr id="7" name="Performance text">
            <a:extLst>
              <a:ext uri="{FF2B5EF4-FFF2-40B4-BE49-F238E27FC236}">
                <a16:creationId xmlns:a16="http://schemas.microsoft.com/office/drawing/2014/main" id="{F75837AA-1FF8-4AAF-B03D-813190FFF252}"/>
              </a:ext>
            </a:extLst>
          </p:cNvPr>
          <p:cNvSpPr txBox="1">
            <a:spLocks/>
          </p:cNvSpPr>
          <p:nvPr/>
        </p:nvSpPr>
        <p:spPr>
          <a:xfrm>
            <a:off x="3370194" y="5418541"/>
            <a:ext cx="2706915" cy="5425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cap="all">
                <a:solidFill>
                  <a:schemeClr val="bg1"/>
                </a:solidFill>
                <a:latin typeface="Honeywell Cond Web" panose="020B0506030202060103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600"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»"/>
              <a:defRPr sz="1400"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E1261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Optimize Business</a:t>
            </a:r>
          </a:p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E1261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Performance</a:t>
            </a:r>
          </a:p>
        </p:txBody>
      </p:sp>
      <p:sp>
        <p:nvSpPr>
          <p:cNvPr id="8" name="Deployment text">
            <a:extLst>
              <a:ext uri="{FF2B5EF4-FFF2-40B4-BE49-F238E27FC236}">
                <a16:creationId xmlns:a16="http://schemas.microsoft.com/office/drawing/2014/main" id="{507D73D4-3DF8-450D-8FE5-DD47DBA27F74}"/>
              </a:ext>
            </a:extLst>
          </p:cNvPr>
          <p:cNvSpPr txBox="1">
            <a:spLocks/>
          </p:cNvSpPr>
          <p:nvPr/>
        </p:nvSpPr>
        <p:spPr>
          <a:xfrm>
            <a:off x="449119" y="5418541"/>
            <a:ext cx="2462839" cy="215444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E1261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Accelerate Deployments</a:t>
            </a:r>
          </a:p>
        </p:txBody>
      </p:sp>
      <p:sp>
        <p:nvSpPr>
          <p:cNvPr id="9" name="Lifecycle text">
            <a:extLst>
              <a:ext uri="{FF2B5EF4-FFF2-40B4-BE49-F238E27FC236}">
                <a16:creationId xmlns:a16="http://schemas.microsoft.com/office/drawing/2014/main" id="{7D8D0142-1F90-4531-92B2-2D6F079F0698}"/>
              </a:ext>
            </a:extLst>
          </p:cNvPr>
          <p:cNvSpPr txBox="1">
            <a:spLocks/>
          </p:cNvSpPr>
          <p:nvPr/>
        </p:nvSpPr>
        <p:spPr>
          <a:xfrm>
            <a:off x="9483812" y="5418541"/>
            <a:ext cx="2212888" cy="1487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cap="all">
                <a:solidFill>
                  <a:schemeClr val="bg1"/>
                </a:solidFill>
                <a:latin typeface="Honeywell Cond Web" panose="020B0506030202060103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600"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»"/>
              <a:defRPr sz="1400"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E1261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trengthen Securit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E75261-67E6-49AC-B571-3B12AAF8ABC9}"/>
              </a:ext>
            </a:extLst>
          </p:cNvPr>
          <p:cNvSpPr/>
          <p:nvPr/>
        </p:nvSpPr>
        <p:spPr>
          <a:xfrm>
            <a:off x="774403" y="5628048"/>
            <a:ext cx="1704051" cy="76174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average deployment</a:t>
            </a:r>
            <a:b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st of IT staff is over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$700 per device</a:t>
            </a:r>
            <a:endParaRPr kumimoji="0" lang="en-US" sz="1200" b="1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3825C4-11AD-4365-8FF7-566C67306F12}"/>
              </a:ext>
            </a:extLst>
          </p:cNvPr>
          <p:cNvSpPr/>
          <p:nvPr/>
        </p:nvSpPr>
        <p:spPr>
          <a:xfrm>
            <a:off x="3455683" y="5842470"/>
            <a:ext cx="2535936" cy="76174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 average of one mobile availability problem per shift can reduce productivity per mobile worker by</a:t>
            </a:r>
            <a:b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$20,000 per year</a:t>
            </a:r>
            <a:endParaRPr kumimoji="0" lang="en-US" sz="1200" b="1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1ED986-F260-47E2-A69B-5043BDC418AE}"/>
              </a:ext>
            </a:extLst>
          </p:cNvPr>
          <p:cNvSpPr/>
          <p:nvPr/>
        </p:nvSpPr>
        <p:spPr>
          <a:xfrm>
            <a:off x="6828740" y="5628048"/>
            <a:ext cx="217622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tending device refresh </a:t>
            </a:r>
          </a:p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rom 5 to 8 years lowers total cost of ownership by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ver 50%</a:t>
            </a:r>
            <a:endParaRPr kumimoji="0" lang="en-US" sz="1200" b="1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C327D4-353A-4C02-A751-47D6F02FB520}"/>
              </a:ext>
            </a:extLst>
          </p:cNvPr>
          <p:cNvSpPr/>
          <p:nvPr/>
        </p:nvSpPr>
        <p:spPr>
          <a:xfrm>
            <a:off x="9756597" y="5628048"/>
            <a:ext cx="1734961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 2019, the average </a:t>
            </a:r>
            <a:b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st of a data breach was </a:t>
            </a:r>
            <a:b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$3.9 million</a:t>
            </a:r>
            <a:endParaRPr kumimoji="0" lang="en-US" sz="1200" b="1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4" name="Picture 13" descr="AccelerateDeployments-Icon2.png">
            <a:extLst>
              <a:ext uri="{FF2B5EF4-FFF2-40B4-BE49-F238E27FC236}">
                <a16:creationId xmlns:a16="http://schemas.microsoft.com/office/drawing/2014/main" id="{EA57DDAB-F516-49D6-8E12-501BB40F0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688" y="4872315"/>
            <a:ext cx="473699" cy="473698"/>
          </a:xfrm>
          <a:prstGeom prst="rect">
            <a:avLst/>
          </a:prstGeom>
        </p:spPr>
      </p:pic>
      <p:pic>
        <p:nvPicPr>
          <p:cNvPr id="15" name="Picture 14" descr="OptmizeBusiness-Icon2.png">
            <a:extLst>
              <a:ext uri="{FF2B5EF4-FFF2-40B4-BE49-F238E27FC236}">
                <a16:creationId xmlns:a16="http://schemas.microsoft.com/office/drawing/2014/main" id="{0C14F84D-D2EC-496D-8247-E97F2253A8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97" y="4872315"/>
            <a:ext cx="473698" cy="473698"/>
          </a:xfrm>
          <a:prstGeom prst="rect">
            <a:avLst/>
          </a:prstGeom>
        </p:spPr>
      </p:pic>
      <p:pic>
        <p:nvPicPr>
          <p:cNvPr id="16" name="Picture 15" descr="Lifecycle2.png">
            <a:extLst>
              <a:ext uri="{FF2B5EF4-FFF2-40B4-BE49-F238E27FC236}">
                <a16:creationId xmlns:a16="http://schemas.microsoft.com/office/drawing/2014/main" id="{8472EAD4-C74D-43EE-A84B-C36322DCE68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0004" y="4872105"/>
            <a:ext cx="473698" cy="473908"/>
          </a:xfrm>
          <a:prstGeom prst="rect">
            <a:avLst/>
          </a:prstGeom>
        </p:spPr>
      </p:pic>
      <p:pic>
        <p:nvPicPr>
          <p:cNvPr id="17" name="Picture 16" descr="StrengthenSecurity-Icon2b.png">
            <a:extLst>
              <a:ext uri="{FF2B5EF4-FFF2-40B4-BE49-F238E27FC236}">
                <a16:creationId xmlns:a16="http://schemas.microsoft.com/office/drawing/2014/main" id="{E3DBB72B-FD48-40D0-9C62-15B7CB3A279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7228" y="4872109"/>
            <a:ext cx="473698" cy="473904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6B330AE-E965-4A3A-A8C8-81AA9B47684D}"/>
              </a:ext>
            </a:extLst>
          </p:cNvPr>
          <p:cNvSpPr txBox="1">
            <a:spLocks/>
          </p:cNvSpPr>
          <p:nvPr/>
        </p:nvSpPr>
        <p:spPr>
          <a:xfrm>
            <a:off x="6278422" y="1414670"/>
            <a:ext cx="5600697" cy="320003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w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with the CT70 (</a:t>
            </a:r>
            <a:r>
              <a:rPr kumimoji="0" lang="en-US" sz="160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T60/CT45XP</a:t>
            </a:r>
            <a:r>
              <a:rPr kumimoji="0" lang="en-US" sz="160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Wingdings" panose="05000000000000000000" pitchFamily="2" charset="2"/>
              </a:rPr>
              <a:t> </a:t>
            </a:r>
            <a:r>
              <a:rPr kumimoji="0" lang="en-US" sz="160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T70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</a:p>
          <a:p>
            <a:pPr marL="229870" lvl="1" indent="-229870">
              <a:buClr>
                <a:srgbClr val="DC202E"/>
              </a:buClr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Comparable ruggedness without CT45/CT60’s thickness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870" lvl="1" indent="-229870">
              <a:buClr>
                <a:srgbClr val="DC202E"/>
              </a:buClr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A bigger, brighter, sunlight readable 6-inch display.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870" lvl="1" indent="-229870">
              <a:buClr>
                <a:srgbClr val="DC202E"/>
              </a:buClr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Android versions 15 – 19 committed. </a:t>
            </a:r>
          </a:p>
          <a:p>
            <a:pPr marL="229870" lvl="1" indent="-229870">
              <a:buClr>
                <a:srgbClr val="DC202E"/>
              </a:buClr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Latest cellular, Wi-Fi, Bluetooth connectivity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870" lvl="1" indent="-229870">
              <a:buClr>
                <a:srgbClr val="DC202E"/>
              </a:buClr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Integrated RFID; Integrated NFC in display; Edge AI ready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870" lvl="1" indent="-229870">
              <a:buClr>
                <a:srgbClr val="DC202E"/>
              </a:buClr>
              <a:buFont typeface="Arial,Sans-Serif" panose="020B0604020202020204" pitchFamily="34" charset="0"/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Extended range of accessory types (wireless battery</a:t>
            </a:r>
            <a:r>
              <a:rPr lang="en-US" sz="1400" b="1">
                <a:solidFill>
                  <a:prstClr val="black"/>
                </a:solidFill>
                <a:latin typeface="Arial" panose="020B0604020202020204" pitchFamily="34" charset="0"/>
              </a:rPr>
              <a:t>, </a:t>
            </a:r>
            <a:br>
              <a:rPr lang="en-US" sz="1400" b="1">
                <a:solidFill>
                  <a:prstClr val="black"/>
                </a:solidFill>
                <a:latin typeface="Arial" panose="020B0604020202020204" pitchFamily="34" charset="0"/>
              </a:rPr>
            </a:br>
            <a:r>
              <a:rPr lang="en-US" sz="1400" b="1">
                <a:solidFill>
                  <a:prstClr val="black"/>
                </a:solidFill>
                <a:latin typeface="Arial" panose="020B0604020202020204" pitchFamily="34" charset="0"/>
              </a:rPr>
              <a:t>extended 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battery, 16 bay charger)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870" lvl="1" indent="-229870">
              <a:buClr>
                <a:srgbClr val="DC202E"/>
              </a:buClr>
              <a:buFont typeface="Arial,Sans-Serif" panose="020B0604020202020204" pitchFamily="34" charset="0"/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</a:rPr>
              <a:t>FSC Recycled packaging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Clr>
                <a:srgbClr val="DC202E"/>
              </a:buClr>
              <a:buNone/>
              <a:defRPr/>
            </a:pPr>
            <a:endParaRPr lang="en-US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A222AD6-DF06-509D-632B-380F8D5F8FF4}"/>
              </a:ext>
            </a:extLst>
          </p:cNvPr>
          <p:cNvCxnSpPr/>
          <p:nvPr/>
        </p:nvCxnSpPr>
        <p:spPr>
          <a:xfrm>
            <a:off x="468000" y="4630903"/>
            <a:ext cx="112014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7E829CE2-8892-6479-7E4D-727E81A666D6}"/>
              </a:ext>
            </a:extLst>
          </p:cNvPr>
          <p:cNvSpPr txBox="1">
            <a:spLocks/>
          </p:cNvSpPr>
          <p:nvPr/>
        </p:nvSpPr>
        <p:spPr>
          <a:xfrm>
            <a:off x="390918" y="501321"/>
            <a:ext cx="11201401" cy="4191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igratio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592E36D-D18E-B37C-E2E8-DF66AA7613B2}"/>
              </a:ext>
            </a:extLst>
          </p:cNvPr>
          <p:cNvSpPr txBox="1">
            <a:spLocks/>
          </p:cNvSpPr>
          <p:nvPr/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7B94EC18-1D2B-4535-B738-0E53AFE26620}" type="slidenum">
              <a:rPr lang="en-US" sz="1000" b="1" smtClean="0">
                <a:solidFill>
                  <a:srgbClr val="707070"/>
                </a:solidFill>
                <a:latin typeface="Arial" panose="020B0604020202020204" pitchFamily="34" charset="0"/>
              </a:rPr>
              <a:pPr algn="r">
                <a:defRPr/>
              </a:pPr>
              <a:t>16</a:t>
            </a:fld>
            <a:endParaRPr lang="en-US" sz="1000" b="1" dirty="0">
              <a:solidFill>
                <a:srgbClr val="70707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8318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19595C4-837D-F93E-EC04-10AEA745F835}"/>
              </a:ext>
            </a:extLst>
          </p:cNvPr>
          <p:cNvSpPr/>
          <p:nvPr/>
        </p:nvSpPr>
        <p:spPr>
          <a:xfrm>
            <a:off x="4241323" y="1934258"/>
            <a:ext cx="3670026" cy="4407543"/>
          </a:xfrm>
          <a:prstGeom prst="rect">
            <a:avLst/>
          </a:prstGeom>
          <a:solidFill>
            <a:srgbClr val="DC20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E6CCD7-45C7-8D07-8E5E-CFE6C860D038}"/>
              </a:ext>
            </a:extLst>
          </p:cNvPr>
          <p:cNvSpPr/>
          <p:nvPr/>
        </p:nvSpPr>
        <p:spPr>
          <a:xfrm>
            <a:off x="495301" y="1934260"/>
            <a:ext cx="3670025" cy="440754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37A38A-3676-E549-59C5-EA7658A6DFC2}"/>
              </a:ext>
            </a:extLst>
          </p:cNvPr>
          <p:cNvSpPr txBox="1"/>
          <p:nvPr/>
        </p:nvSpPr>
        <p:spPr>
          <a:xfrm>
            <a:off x="700620" y="2869992"/>
            <a:ext cx="3387007" cy="343170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857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bility Edge™ platform supporting Android </a:t>
            </a:r>
            <a:r>
              <a:rPr kumimoji="0" lang="en-US" altLang="zh-CN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 - 19</a:t>
            </a: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vives repeated 6-ft drops to concrete, 8-ft w boo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G, CBRS &amp; Wi-Fi </a:t>
            </a:r>
            <a:r>
              <a:rPr kumimoji="0" lang="en-US" altLang="zh-CN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/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E/6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ning</a:t>
            </a:r>
            <a:r>
              <a:rPr kumimoji="0" lang="en-US" sz="1600" b="1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orilla</a:t>
            </a:r>
            <a:r>
              <a:rPr kumimoji="0" lang="en-US" sz="1600" b="1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lass 7, 6’’ FHD display, 600+ ni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ll-shift wireless or standard battery; multi-shift extended battery; True hot swa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al dock platfo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FF8051-7FFC-5584-9DAD-E4C777FBDE29}"/>
              </a:ext>
            </a:extLst>
          </p:cNvPr>
          <p:cNvSpPr txBox="1"/>
          <p:nvPr/>
        </p:nvSpPr>
        <p:spPr>
          <a:xfrm>
            <a:off x="4441519" y="2877006"/>
            <a:ext cx="3316134" cy="343170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9870" marR="0" lvl="1" indent="-22987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bility Edge™ platform for unbroken Android support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xt-gen system performance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ll balanced ruggedness and enterprise ergonomics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ltra-reliable connectivity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precedented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user experience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rehensive accessory ecosystem</a:t>
            </a:r>
            <a:endParaRPr lang="en-US" sz="16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92FECF-9E09-B7A0-51EC-181182DC885C}"/>
              </a:ext>
            </a:extLst>
          </p:cNvPr>
          <p:cNvSpPr txBox="1">
            <a:spLocks/>
          </p:cNvSpPr>
          <p:nvPr/>
        </p:nvSpPr>
        <p:spPr>
          <a:xfrm>
            <a:off x="382871" y="620184"/>
            <a:ext cx="11201401" cy="419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all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P</a:t>
            </a:r>
            <a:r>
              <a:rPr kumimoji="0" lang="en-RO" sz="3200" b="0" i="0" u="none" strike="noStrike" kern="1200" cap="all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roduct </a:t>
            </a:r>
            <a:r>
              <a:rPr kumimoji="0" lang="en-GB" sz="3200" b="0" i="0" u="none" strike="noStrike" kern="1200" cap="all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Differentiators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 customer with </a:t>
            </a:r>
            <a:r>
              <a:rPr kumimoji="0" lang="en-US" altLang="zh-CN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 TC5X</a:t>
            </a:r>
            <a:r>
              <a:rPr kumimoji="0" lang="en-GB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stall base</a:t>
            </a:r>
            <a:endParaRPr kumimoji="0" lang="en-RO" sz="32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F34815-A5D5-02B6-90A1-76FBEEB6651B}"/>
              </a:ext>
            </a:extLst>
          </p:cNvPr>
          <p:cNvSpPr txBox="1"/>
          <p:nvPr/>
        </p:nvSpPr>
        <p:spPr>
          <a:xfrm>
            <a:off x="595123" y="2189861"/>
            <a:ext cx="244743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9870" marR="0" lvl="1" indent="-22987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SELLING</a:t>
            </a:r>
          </a:p>
          <a:p>
            <a:pPr marL="229870" marR="0" lvl="1" indent="-22987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POIN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3D2AED-366A-ADEE-0171-408BC2B3E870}"/>
              </a:ext>
            </a:extLst>
          </p:cNvPr>
          <p:cNvSpPr txBox="1"/>
          <p:nvPr/>
        </p:nvSpPr>
        <p:spPr>
          <a:xfrm>
            <a:off x="4441519" y="2189861"/>
            <a:ext cx="284063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9870" marR="0" lvl="1" indent="-22987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COMPETITIVE</a:t>
            </a:r>
          </a:p>
          <a:p>
            <a:pPr marL="229870" marR="0" lvl="1" indent="-22987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DISTINCTION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859F740-3BA6-0389-D0A6-589DC27C3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D5FE-28F2-90AF-9EE0-12D493B593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74" r="25377"/>
          <a:stretch>
            <a:fillRect/>
          </a:stretch>
        </p:blipFill>
        <p:spPr>
          <a:xfrm>
            <a:off x="7858341" y="1873465"/>
            <a:ext cx="4262359" cy="460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12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E721E52-1A33-F869-9E3D-D5A3883D1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9"/>
          <a:stretch>
            <a:fillRect/>
          </a:stretch>
        </p:blipFill>
        <p:spPr>
          <a:xfrm>
            <a:off x="7610167" y="1409700"/>
            <a:ext cx="4222029" cy="50228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2CA77B-743B-D0C6-EADF-CE06892E2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8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926F1E-EC78-C0C5-1CD2-D8BDA1020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433626"/>
              </p:ext>
            </p:extLst>
          </p:nvPr>
        </p:nvGraphicFramePr>
        <p:xfrm>
          <a:off x="495300" y="1226823"/>
          <a:ext cx="7114867" cy="5205705"/>
        </p:xfrm>
        <a:graphic>
          <a:graphicData uri="http://schemas.openxmlformats.org/drawingml/2006/table">
            <a:tbl>
              <a:tblPr/>
              <a:tblGrid>
                <a:gridCol w="1573835">
                  <a:extLst>
                    <a:ext uri="{9D8B030D-6E8A-4147-A177-3AD203B41FA5}">
                      <a16:colId xmlns:a16="http://schemas.microsoft.com/office/drawing/2014/main" val="2074367266"/>
                    </a:ext>
                  </a:extLst>
                </a:gridCol>
                <a:gridCol w="940765">
                  <a:extLst>
                    <a:ext uri="{9D8B030D-6E8A-4147-A177-3AD203B41FA5}">
                      <a16:colId xmlns:a16="http://schemas.microsoft.com/office/drawing/2014/main" val="315745607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92330337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856597796"/>
                    </a:ext>
                  </a:extLst>
                </a:gridCol>
                <a:gridCol w="622300">
                  <a:extLst>
                    <a:ext uri="{9D8B030D-6E8A-4147-A177-3AD203B41FA5}">
                      <a16:colId xmlns:a16="http://schemas.microsoft.com/office/drawing/2014/main" val="3905413920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1428634242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123666303"/>
                    </a:ext>
                  </a:extLst>
                </a:gridCol>
                <a:gridCol w="790267">
                  <a:extLst>
                    <a:ext uri="{9D8B030D-6E8A-4147-A177-3AD203B41FA5}">
                      <a16:colId xmlns:a16="http://schemas.microsoft.com/office/drawing/2014/main" val="211484245"/>
                    </a:ext>
                  </a:extLst>
                </a:gridCol>
              </a:tblGrid>
              <a:tr h="387287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SKU NUMBE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WWAN/</a:t>
                      </a:r>
                    </a:p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RFID/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MEMOR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ENGINE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BATTER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ANDROI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REGION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919004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8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333738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7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60363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8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6207351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7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339366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8CW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819168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7CW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125619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8CW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007115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7CW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985699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8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63894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7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377827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8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573673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7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233481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8CS2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189994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L0N-057CS2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L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2657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8CS2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714901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7CS2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793904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R-058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FID/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038541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R-057CS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FID/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17628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R-058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FID/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28559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R-057CE104G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FID/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e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654568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8CS201C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803FR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C onl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370907"/>
                  </a:ext>
                </a:extLst>
              </a:tr>
              <a:tr h="219019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70-X1N-057CS201C</a:t>
                      </a:r>
                    </a:p>
                  </a:txBody>
                  <a:tcPr marL="108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AN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8G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07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GMS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C onl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80364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923F1F2-8D16-9059-45FF-80CDD033325B}"/>
              </a:ext>
            </a:extLst>
          </p:cNvPr>
          <p:cNvSpPr txBox="1"/>
          <p:nvPr/>
        </p:nvSpPr>
        <p:spPr>
          <a:xfrm>
            <a:off x="8639633" y="1226823"/>
            <a:ext cx="216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latin typeface="+mj-lt"/>
              </a:rPr>
              <a:t>CT70 UNBOXING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E67D8A-A200-E61E-C9EE-C9FCA6672068}"/>
              </a:ext>
            </a:extLst>
          </p:cNvPr>
          <p:cNvSpPr txBox="1">
            <a:spLocks/>
          </p:cNvSpPr>
          <p:nvPr/>
        </p:nvSpPr>
        <p:spPr>
          <a:xfrm>
            <a:off x="398313" y="495300"/>
            <a:ext cx="11201401" cy="4191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nfigurations</a:t>
            </a:r>
          </a:p>
        </p:txBody>
      </p:sp>
    </p:spTree>
    <p:extLst>
      <p:ext uri="{BB962C8B-B14F-4D97-AF65-F5344CB8AC3E}">
        <p14:creationId xmlns:p14="http://schemas.microsoft.com/office/powerpoint/2010/main" val="2692387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1CEAA6-073F-809B-C4EF-5135460CDF89}"/>
              </a:ext>
            </a:extLst>
          </p:cNvPr>
          <p:cNvSpPr/>
          <p:nvPr/>
        </p:nvSpPr>
        <p:spPr>
          <a:xfrm>
            <a:off x="505286" y="2594873"/>
            <a:ext cx="4752514" cy="310848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DC3ADF-078D-D60A-4230-FDF593318386}"/>
              </a:ext>
            </a:extLst>
          </p:cNvPr>
          <p:cNvSpPr/>
          <p:nvPr/>
        </p:nvSpPr>
        <p:spPr>
          <a:xfrm>
            <a:off x="5162550" y="2594872"/>
            <a:ext cx="6524164" cy="310848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4D0537-0B9E-AF2E-5472-77D4270F69F3}"/>
              </a:ext>
            </a:extLst>
          </p:cNvPr>
          <p:cNvSpPr/>
          <p:nvPr/>
        </p:nvSpPr>
        <p:spPr>
          <a:xfrm>
            <a:off x="790895" y="3567612"/>
            <a:ext cx="15365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</a:t>
            </a:r>
          </a:p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5A09E5BA-0951-28C3-A73B-73188F7712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076" y="2868153"/>
            <a:ext cx="604202" cy="604202"/>
          </a:xfrm>
          <a:prstGeom prst="rect">
            <a:avLst/>
          </a:prstGeom>
        </p:spPr>
      </p:pic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09EB7DB7-8585-8126-8DF8-23322B2A33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718" y="2868380"/>
            <a:ext cx="604201" cy="60420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882895B-FFD1-F3C0-B161-12E109045A50}"/>
              </a:ext>
            </a:extLst>
          </p:cNvPr>
          <p:cNvSpPr/>
          <p:nvPr/>
        </p:nvSpPr>
        <p:spPr>
          <a:xfrm>
            <a:off x="2355078" y="3567612"/>
            <a:ext cx="15365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</a:t>
            </a:r>
          </a:p>
          <a:p>
            <a:pPr lvl="0" algn="ctr">
              <a:lnSpc>
                <a:spcPts val="1200"/>
              </a:lnSpc>
              <a:defRPr/>
            </a:pP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cylce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l 203</a:t>
            </a:r>
            <a: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6BDF259E-4A68-365B-7747-99368B20FC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616" y="4358241"/>
            <a:ext cx="631230" cy="63123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9C3A613-DD5B-C2D1-CCF6-7C9F390D0AD8}"/>
              </a:ext>
            </a:extLst>
          </p:cNvPr>
          <p:cNvSpPr/>
          <p:nvPr/>
        </p:nvSpPr>
        <p:spPr>
          <a:xfrm>
            <a:off x="772868" y="5057700"/>
            <a:ext cx="15365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</a:t>
            </a:r>
          </a:p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A2724B-99EF-5D68-5718-77F07D93CEE5}"/>
              </a:ext>
            </a:extLst>
          </p:cNvPr>
          <p:cNvSpPr/>
          <p:nvPr/>
        </p:nvSpPr>
        <p:spPr>
          <a:xfrm>
            <a:off x="2337051" y="5057700"/>
            <a:ext cx="15365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e</a:t>
            </a:r>
          </a:p>
          <a:p>
            <a:pPr lvl="0" algn="ctr">
              <a:lnSpc>
                <a:spcPts val="12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s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75310D78-EA6E-406C-9F3F-E398480011E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2727686" y="4243385"/>
            <a:ext cx="631230" cy="80688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C5B3846-BEB2-C14C-92FD-0A0572F07B51}"/>
              </a:ext>
            </a:extLst>
          </p:cNvPr>
          <p:cNvSpPr/>
          <p:nvPr/>
        </p:nvSpPr>
        <p:spPr>
          <a:xfrm>
            <a:off x="402162" y="2260765"/>
            <a:ext cx="32127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MOBILITY EDGE™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4EB79F-9B15-A825-2FCD-828DB05A0A36}"/>
              </a:ext>
            </a:extLst>
          </p:cNvPr>
          <p:cNvSpPr/>
          <p:nvPr/>
        </p:nvSpPr>
        <p:spPr>
          <a:xfrm>
            <a:off x="6096000" y="2868153"/>
            <a:ext cx="1642887" cy="2589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1B52B3-4688-173D-5584-7E89F2F5EB7A}"/>
              </a:ext>
            </a:extLst>
          </p:cNvPr>
          <p:cNvSpPr/>
          <p:nvPr/>
        </p:nvSpPr>
        <p:spPr>
          <a:xfrm>
            <a:off x="7941325" y="2868153"/>
            <a:ext cx="1642887" cy="2589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FD62AC-92CB-CAB2-D419-883DCD9B28BC}"/>
              </a:ext>
            </a:extLst>
          </p:cNvPr>
          <p:cNvSpPr/>
          <p:nvPr/>
        </p:nvSpPr>
        <p:spPr>
          <a:xfrm>
            <a:off x="9796840" y="2868153"/>
            <a:ext cx="1642887" cy="2589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7741BE0-7D45-2A43-A23C-DDF4CADEE940}"/>
              </a:ext>
            </a:extLst>
          </p:cNvPr>
          <p:cNvSpPr/>
          <p:nvPr/>
        </p:nvSpPr>
        <p:spPr>
          <a:xfrm>
            <a:off x="6003677" y="2970810"/>
            <a:ext cx="1598338" cy="259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8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UTURE-PROOF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94425AF-FB22-BE2A-8E73-8613544048C0}"/>
              </a:ext>
            </a:extLst>
          </p:cNvPr>
          <p:cNvSpPr/>
          <p:nvPr/>
        </p:nvSpPr>
        <p:spPr>
          <a:xfrm>
            <a:off x="9814866" y="2970810"/>
            <a:ext cx="1434559" cy="2590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8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ASY  TO  U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B8AC284-CCA0-C29D-2C0B-7ED5A98CBA3F}"/>
              </a:ext>
            </a:extLst>
          </p:cNvPr>
          <p:cNvSpPr/>
          <p:nvPr/>
        </p:nvSpPr>
        <p:spPr>
          <a:xfrm>
            <a:off x="7906617" y="2970810"/>
            <a:ext cx="1788631" cy="2590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8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IGHLY  RELIAB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08CA761-1AD9-702F-7A82-54D4C7F815DE}"/>
              </a:ext>
            </a:extLst>
          </p:cNvPr>
          <p:cNvSpPr/>
          <p:nvPr/>
        </p:nvSpPr>
        <p:spPr>
          <a:xfrm>
            <a:off x="6063039" y="3243007"/>
            <a:ext cx="172663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zing speed with advanced Octo core 2.9GHz chipset </a:t>
            </a:r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built in NPU</a:t>
            </a:r>
            <a:endParaRPr 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- reliable connectivity:</a:t>
            </a: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G, Wi-Fi 7/6E, BT v.6.0 </a:t>
            </a: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oid support from 15 to 19 (5+5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96EBAF-6399-D605-B7F3-F72CF70D78CF}"/>
              </a:ext>
            </a:extLst>
          </p:cNvPr>
          <p:cNvSpPr/>
          <p:nvPr/>
        </p:nvSpPr>
        <p:spPr>
          <a:xfrm>
            <a:off x="7916678" y="3243007"/>
            <a:ext cx="1642888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ior rugged device in a slim housing to achieve 1.8m/6ft drop to concrete across operating temp</a:t>
            </a:r>
          </a:p>
          <a:p>
            <a:endParaRPr 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charging, Qi compliant, 7692mah extended battery;</a:t>
            </a: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db dual speaker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9C8249D-BBE1-6EB2-9341-A27E6EA50289}"/>
              </a:ext>
            </a:extLst>
          </p:cNvPr>
          <p:cNvSpPr/>
          <p:nvPr/>
        </p:nvSpPr>
        <p:spPr>
          <a:xfrm>
            <a:off x="9814866" y="3243007"/>
            <a:ext cx="2055791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eet spot of sleek 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and high</a:t>
            </a:r>
          </a:p>
          <a:p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ggedness. 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uitive quick battery release style. True 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swap </a:t>
            </a:r>
          </a:p>
          <a:p>
            <a:endParaRPr 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NFC in 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een Integrated RFID;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</a:t>
            </a:r>
            <a:b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ory ecosystem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7F1411-CF7B-EC9F-8900-C0945E11C0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1777" y="1236133"/>
            <a:ext cx="2737479" cy="5619782"/>
          </a:xfrm>
          <a:prstGeom prst="rect">
            <a:avLst/>
          </a:prstGeom>
        </p:spPr>
      </p:pic>
      <p:sp>
        <p:nvSpPr>
          <p:cNvPr id="6" name="object 6">
            <a:extLst>
              <a:ext uri="{FF2B5EF4-FFF2-40B4-BE49-F238E27FC236}">
                <a16:creationId xmlns:a16="http://schemas.microsoft.com/office/drawing/2014/main" id="{2CC02282-E556-FE7F-5157-C10DB49E1167}"/>
              </a:ext>
            </a:extLst>
          </p:cNvPr>
          <p:cNvSpPr txBox="1"/>
          <p:nvPr/>
        </p:nvSpPr>
        <p:spPr>
          <a:xfrm>
            <a:off x="512781" y="653285"/>
            <a:ext cx="10819584" cy="7396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lvl="0">
              <a:lnSpc>
                <a:spcPts val="2680"/>
              </a:lnSpc>
              <a:spcBef>
                <a:spcPts val="100"/>
              </a:spcBef>
            </a:pPr>
            <a:r>
              <a:rPr lang="en-US" sz="3200" b="1" spc="-55" dirty="0">
                <a:latin typeface="+mj-lt"/>
                <a:cs typeface="Arial" panose="020B0604020202020204" pitchFamily="34" charset="0"/>
              </a:rPr>
              <a:t>AN INTEGRATED SOLUTION PROTECTS </a:t>
            </a:r>
          </a:p>
          <a:p>
            <a:pPr marL="12700" lvl="0">
              <a:lnSpc>
                <a:spcPts val="2680"/>
              </a:lnSpc>
              <a:spcBef>
                <a:spcPts val="100"/>
              </a:spcBef>
            </a:pPr>
            <a:r>
              <a:rPr lang="en-US" sz="3200" b="1" spc="-55" dirty="0">
                <a:latin typeface="+mj-lt"/>
                <a:cs typeface="Arial" panose="020B0604020202020204" pitchFamily="34" charset="0"/>
              </a:rPr>
              <a:t>THE INVESTMENT OF OWNERSHIP</a:t>
            </a:r>
            <a:endParaRPr kumimoji="0" lang="en-US" sz="3200" b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0D6C1DA-5EBE-E15B-FD34-D5C0B03B0F1E}"/>
              </a:ext>
            </a:extLst>
          </p:cNvPr>
          <p:cNvGrpSpPr/>
          <p:nvPr/>
        </p:nvGrpSpPr>
        <p:grpSpPr>
          <a:xfrm>
            <a:off x="10771033" y="1780546"/>
            <a:ext cx="914400" cy="752114"/>
            <a:chOff x="552802" y="2111473"/>
            <a:chExt cx="863105" cy="885366"/>
          </a:xfrm>
          <a:solidFill>
            <a:schemeClr val="tx2">
              <a:lumMod val="40000"/>
              <a:lumOff val="60000"/>
            </a:schemeClr>
          </a:solidFill>
        </p:grpSpPr>
        <p:pic>
          <p:nvPicPr>
            <p:cNvPr id="27" name="Picture 26" descr="taxonomy icon library-14.png">
              <a:extLst>
                <a:ext uri="{FF2B5EF4-FFF2-40B4-BE49-F238E27FC236}">
                  <a16:creationId xmlns:a16="http://schemas.microsoft.com/office/drawing/2014/main" id="{F87F82C9-C1B1-0E6B-83B3-11315F2D8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52802" y="2111473"/>
              <a:ext cx="863105" cy="88536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F07D3D4-05D5-084C-B484-B95A1C43F1BF}"/>
                </a:ext>
              </a:extLst>
            </p:cNvPr>
            <p:cNvSpPr txBox="1"/>
            <p:nvPr/>
          </p:nvSpPr>
          <p:spPr>
            <a:xfrm>
              <a:off x="559193" y="2802698"/>
              <a:ext cx="841399" cy="17958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none" lIns="0" tIns="0" rIns="0" b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tail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0FC887B-7D9F-F5C4-C1BA-65F0DBA1A65F}"/>
              </a:ext>
            </a:extLst>
          </p:cNvPr>
          <p:cNvGrpSpPr/>
          <p:nvPr/>
        </p:nvGrpSpPr>
        <p:grpSpPr>
          <a:xfrm>
            <a:off x="9860340" y="1780546"/>
            <a:ext cx="845659" cy="761789"/>
            <a:chOff x="627072" y="3238654"/>
            <a:chExt cx="931101" cy="914400"/>
          </a:xfrm>
          <a:solidFill>
            <a:schemeClr val="tx2">
              <a:lumMod val="40000"/>
              <a:lumOff val="60000"/>
            </a:schemeClr>
          </a:solidFill>
        </p:grpSpPr>
        <p:pic>
          <p:nvPicPr>
            <p:cNvPr id="30" name="Picture 29" descr="taxonomy icon library-16.png">
              <a:extLst>
                <a:ext uri="{FF2B5EF4-FFF2-40B4-BE49-F238E27FC236}">
                  <a16:creationId xmlns:a16="http://schemas.microsoft.com/office/drawing/2014/main" id="{844CD3D9-7F6D-7B08-5A43-745A4D30E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27072" y="3238654"/>
              <a:ext cx="931101" cy="914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EDA99A4-C245-F96E-4040-DCED24BABAA0}"/>
                </a:ext>
              </a:extLst>
            </p:cNvPr>
            <p:cNvSpPr txBox="1"/>
            <p:nvPr/>
          </p:nvSpPr>
          <p:spPr>
            <a:xfrm>
              <a:off x="659666" y="3936399"/>
              <a:ext cx="898507" cy="1972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none" lIns="0" tIns="0" rIns="0" b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gistic</a:t>
              </a:r>
            </a:p>
          </p:txBody>
        </p:sp>
      </p:grpSp>
      <p:sp>
        <p:nvSpPr>
          <p:cNvPr id="36" name="Slide Number Placeholder 1">
            <a:extLst>
              <a:ext uri="{FF2B5EF4-FFF2-40B4-BE49-F238E27FC236}">
                <a16:creationId xmlns:a16="http://schemas.microsoft.com/office/drawing/2014/main" id="{D09B2BB0-C544-9FCD-BB72-808110E824E8}"/>
              </a:ext>
            </a:extLst>
          </p:cNvPr>
          <p:cNvSpPr txBox="1">
            <a:spLocks/>
          </p:cNvSpPr>
          <p:nvPr/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B94EC18-1D2B-4535-B738-0E53AFE26620}" type="slidenum">
              <a:rPr lang="en-US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pPr algn="r"/>
              <a:t>19</a:t>
            </a:fld>
            <a:endParaRPr 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871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/>
      <p:bldP spid="10" grpId="0"/>
      <p:bldP spid="12" grpId="0"/>
      <p:bldP spid="13" grpId="0"/>
      <p:bldP spid="15" grpId="0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2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E0B610-2CC0-A04F-9D31-E78F4081A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3BEB5425-6A05-CB41-B694-AAF47120CCAF}"/>
              </a:ext>
            </a:extLst>
          </p:cNvPr>
          <p:cNvSpPr txBox="1">
            <a:spLocks/>
          </p:cNvSpPr>
          <p:nvPr/>
        </p:nvSpPr>
        <p:spPr>
          <a:xfrm>
            <a:off x="421508" y="529166"/>
            <a:ext cx="11201401" cy="419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Value to the custo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E6162E-AD37-B367-D85C-61E428DDCB7E}"/>
              </a:ext>
            </a:extLst>
          </p:cNvPr>
          <p:cNvSpPr txBox="1"/>
          <p:nvPr/>
        </p:nvSpPr>
        <p:spPr>
          <a:xfrm>
            <a:off x="495300" y="965287"/>
            <a:ext cx="56007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rgbClr val="E0E0E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ortation and Grocery </a:t>
            </a:r>
            <a:r>
              <a:rPr lang="en-US" sz="1600" b="1" dirty="0">
                <a:solidFill>
                  <a:srgbClr val="E0E0E0">
                    <a:lumMod val="25000"/>
                  </a:srgbClr>
                </a:solidFill>
                <a:latin typeface="Arial" panose="020B0604020202020204" pitchFamily="34" charset="0"/>
              </a:rPr>
              <a:t>R</a:t>
            </a:r>
            <a:r>
              <a:rPr kumimoji="0" lang="en-US" sz="1600" b="1" u="none" strike="noStrike" kern="1200" cap="none" spc="0" normalizeH="0" baseline="0" noProof="0" dirty="0" err="1">
                <a:ln>
                  <a:noFill/>
                </a:ln>
                <a:solidFill>
                  <a:srgbClr val="E0E0E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ail</a:t>
            </a: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E0E0E0">
                  <a:lumMod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1DC759-ED43-F6E6-8F61-594A92D4F264}"/>
              </a:ext>
            </a:extLst>
          </p:cNvPr>
          <p:cNvSpPr txBox="1"/>
          <p:nvPr/>
        </p:nvSpPr>
        <p:spPr>
          <a:xfrm>
            <a:off x="495300" y="2053856"/>
            <a:ext cx="4433888" cy="2121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ＭＳ Ｐゴシック" charset="0"/>
                <a:cs typeface="Arial" panose="020B0604020202020204" pitchFamily="34" charset="0"/>
              </a:rPr>
              <a:t>CHALLENG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DC202E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Arial" panose="020B0604020202020204" pitchFamily="34" charset="0"/>
              </a:rPr>
              <a:t>Digital transformation speeding up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killed workforce short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ragmented technolog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reats from cyber attack in IoT network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6617A7-9C44-E5E4-98FB-06938337F8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00" y="0"/>
            <a:ext cx="5143500" cy="3429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F975867-97F7-603F-5021-AEB5752F39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00" y="3428128"/>
            <a:ext cx="5143500" cy="342987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6BEC53A-9070-B7E4-06D2-7EDDB618F2EC}"/>
              </a:ext>
            </a:extLst>
          </p:cNvPr>
          <p:cNvCxnSpPr/>
          <p:nvPr/>
        </p:nvCxnSpPr>
        <p:spPr>
          <a:xfrm flipH="1">
            <a:off x="7048500" y="3428128"/>
            <a:ext cx="5143500" cy="0"/>
          </a:xfrm>
          <a:prstGeom prst="line">
            <a:avLst/>
          </a:prstGeom>
          <a:ln w="952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7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393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B806EB-7E37-A5EF-1B11-22CAAEBB5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8AD89F4-90EF-1847-8E5F-A53DA38BEF2B}"/>
              </a:ext>
            </a:extLst>
          </p:cNvPr>
          <p:cNvGrpSpPr/>
          <p:nvPr/>
        </p:nvGrpSpPr>
        <p:grpSpPr>
          <a:xfrm>
            <a:off x="5385151" y="1405363"/>
            <a:ext cx="5954362" cy="4656874"/>
            <a:chOff x="5742338" y="928780"/>
            <a:chExt cx="5954362" cy="4656874"/>
          </a:xfrm>
        </p:grpSpPr>
        <p:sp>
          <p:nvSpPr>
            <p:cNvPr id="3" name="Rectangle: Rounded Corners 1062">
              <a:extLst>
                <a:ext uri="{FF2B5EF4-FFF2-40B4-BE49-F238E27FC236}">
                  <a16:creationId xmlns:a16="http://schemas.microsoft.com/office/drawing/2014/main" id="{143DB562-EECD-D77C-EB7A-F377885B12A4}"/>
                </a:ext>
              </a:extLst>
            </p:cNvPr>
            <p:cNvSpPr/>
            <p:nvPr/>
          </p:nvSpPr>
          <p:spPr>
            <a:xfrm>
              <a:off x="8937698" y="930028"/>
              <a:ext cx="2339615" cy="5512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IN" sz="1400" dirty="0">
                  <a:solidFill>
                    <a:prstClr val="white"/>
                  </a:solidFill>
                  <a:latin typeface="+mj-lt"/>
                </a:rPr>
                <a:t>AUTOMATION</a:t>
              </a:r>
            </a:p>
            <a:p>
              <a:pPr>
                <a:defRPr/>
              </a:pPr>
              <a:r>
                <a:rPr lang="en-IN" sz="1400" b="1" dirty="0">
                  <a:solidFill>
                    <a:prstClr val="white"/>
                  </a:solidFill>
                  <a:latin typeface="Arial" panose="020B0604020202020204" pitchFamily="34" charset="0"/>
                </a:rPr>
                <a:t>IoT  |  Artificial Intelligence</a:t>
              </a:r>
              <a:endParaRPr lang="en-IN" sz="1050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" name="Rectangle: Rounded Corners 1063">
              <a:extLst>
                <a:ext uri="{FF2B5EF4-FFF2-40B4-BE49-F238E27FC236}">
                  <a16:creationId xmlns:a16="http://schemas.microsoft.com/office/drawing/2014/main" id="{A430776A-0AC0-DA93-9FE7-7EB3F8482A6D}"/>
                </a:ext>
              </a:extLst>
            </p:cNvPr>
            <p:cNvSpPr/>
            <p:nvPr/>
          </p:nvSpPr>
          <p:spPr>
            <a:xfrm>
              <a:off x="6184581" y="928780"/>
              <a:ext cx="2237323" cy="552784"/>
            </a:xfrm>
            <a:prstGeom prst="rect">
              <a:avLst/>
            </a:prstGeom>
            <a:solidFill>
              <a:srgbClr val="707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IGITALIZATION</a:t>
              </a:r>
            </a:p>
            <a:p>
              <a:pPr marR="0" lvl="0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IN" sz="1200" b="1" dirty="0">
                  <a:solidFill>
                    <a:prstClr val="white"/>
                  </a:solidFill>
                  <a:latin typeface="Arial" panose="020B0604020202020204" pitchFamily="34" charset="0"/>
                </a:rPr>
                <a:t>Big Data  |  </a:t>
              </a:r>
              <a:r>
                <a:rPr kumimoji="0" lang="en-IN" sz="12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loud Computing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9B28CD6-C55B-2F16-0A6E-3113B0588E39}"/>
                </a:ext>
              </a:extLst>
            </p:cNvPr>
            <p:cNvGrpSpPr/>
            <p:nvPr/>
          </p:nvGrpSpPr>
          <p:grpSpPr>
            <a:xfrm>
              <a:off x="5742338" y="1749444"/>
              <a:ext cx="5954362" cy="3836210"/>
              <a:chOff x="1927806" y="1125529"/>
              <a:chExt cx="8299316" cy="536756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DC0DBDF3-7114-12EF-39E0-5DCA457AEF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897873" y="2139055"/>
                <a:ext cx="2966535" cy="2994479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B708B50-2B83-32E3-3E7D-7D4F25B20307}"/>
                  </a:ext>
                </a:extLst>
              </p:cNvPr>
              <p:cNvSpPr txBox="1"/>
              <p:nvPr/>
            </p:nvSpPr>
            <p:spPr>
              <a:xfrm>
                <a:off x="4925133" y="3194492"/>
                <a:ext cx="2874225" cy="99046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>
                <a:defPPr>
                  <a:defRPr lang="en-US"/>
                </a:defPPr>
                <a:lvl1pPr>
                  <a:defRPr sz="2800"/>
                </a:lvl1pPr>
                <a:lvl2pPr marL="0" lvl="1">
                  <a:defRPr sz="2800"/>
                </a:lvl2pPr>
              </a:lstStyle>
              <a:p>
                <a:pPr algn="ctr"/>
                <a:r>
                  <a:rPr lang="en-IN" sz="2000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Technology</a:t>
                </a:r>
              </a:p>
              <a:p>
                <a:pPr algn="ctr"/>
                <a:r>
                  <a:rPr lang="en-IN" sz="2000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Convergence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2BDA9C7-D355-27E3-181B-37F34E62E4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555622" y="1125529"/>
                <a:ext cx="1715759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2800"/>
                </a:lvl1pPr>
                <a:lvl2pPr marL="0" lvl="1">
                  <a:defRPr sz="2800"/>
                </a:lvl2pPr>
              </a:lstStyle>
              <a:p>
                <a:pPr algn="ctr"/>
                <a:r>
                  <a:rPr lang="en-IN" sz="1200" b="1" dirty="0">
                    <a:solidFill>
                      <a:schemeClr val="accent2"/>
                    </a:solidFill>
                    <a:latin typeface="Arial" panose="020B0604020202020204" pitchFamily="34" charset="0"/>
                  </a:rPr>
                  <a:t>5G, CBRS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AE218B5-075A-EE14-DC3A-ACCB5FD1F2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47152" y="5847141"/>
                <a:ext cx="2949172" cy="6459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Facial Recognition/</a:t>
                </a:r>
                <a:b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</a:br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Voice Recognition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723C84A-57BA-1C78-2754-8198C48CD8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44214" y="1955549"/>
                <a:ext cx="2099467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r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Wi-Fi 7, Wi-Fi 6E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69AF4DB-82C8-7C8C-9CFE-D3E1C38A6F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093106" y="2097778"/>
                <a:ext cx="1715759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l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RFID, NFC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009B990-E2AB-4750-4C7A-5C688A529F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52797" y="4733009"/>
                <a:ext cx="1715759" cy="9043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l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AI Agent /Machine learning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835F974-E4DF-35E7-380D-6277D2A7C8B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55397" y="5428577"/>
                <a:ext cx="1931309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r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Cloud/Software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93DE7EA-B028-6B9F-5D5F-3C2227F2DE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11363" y="3514433"/>
                <a:ext cx="1715759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l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OCR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69888B1-E6C8-1D84-EA0B-92455BF7BF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27806" y="3281467"/>
                <a:ext cx="2232843" cy="387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r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Data analytics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5F24A61-8A67-62B2-CCCE-67C7738ECD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70602" y="4310572"/>
                <a:ext cx="1557843" cy="6459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000"/>
                </a:lvl1pPr>
                <a:lvl2pPr marL="0" lvl="1">
                  <a:defRPr sz="2800"/>
                </a:lvl2pPr>
              </a:lstStyle>
              <a:p>
                <a:pPr algn="r"/>
                <a:r>
                  <a:rPr lang="en-IN" sz="1200" b="1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Barcode Technology</a:t>
                </a: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BCC7E170-5AFE-1291-4657-6D655A1E2865}"/>
                  </a:ext>
                </a:extLst>
              </p:cNvPr>
              <p:cNvSpPr/>
              <p:nvPr/>
            </p:nvSpPr>
            <p:spPr>
              <a:xfrm>
                <a:off x="4353824" y="1653298"/>
                <a:ext cx="4024766" cy="4024766"/>
              </a:xfrm>
              <a:prstGeom prst="ellipse">
                <a:avLst/>
              </a:prstGeom>
              <a:noFill/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5CE8D5F-92D5-D968-B6BF-3023E25F67FC}"/>
                  </a:ext>
                </a:extLst>
              </p:cNvPr>
              <p:cNvSpPr/>
              <p:nvPr/>
            </p:nvSpPr>
            <p:spPr>
              <a:xfrm>
                <a:off x="6281204" y="1526081"/>
                <a:ext cx="264591" cy="2645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9C7D033-D0AE-51C3-C854-9031584579FD}"/>
                  </a:ext>
                </a:extLst>
              </p:cNvPr>
              <p:cNvSpPr/>
              <p:nvPr/>
            </p:nvSpPr>
            <p:spPr>
              <a:xfrm>
                <a:off x="7772099" y="2262335"/>
                <a:ext cx="264591" cy="2645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C055AB11-8D5A-14C4-716C-281D8A167771}"/>
                  </a:ext>
                </a:extLst>
              </p:cNvPr>
              <p:cNvSpPr/>
              <p:nvPr/>
            </p:nvSpPr>
            <p:spPr>
              <a:xfrm>
                <a:off x="8246772" y="3612036"/>
                <a:ext cx="264591" cy="2645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FE330E0-9AC9-0620-9EA6-63E94999325C}"/>
                  </a:ext>
                </a:extLst>
              </p:cNvPr>
              <p:cNvSpPr/>
              <p:nvPr/>
            </p:nvSpPr>
            <p:spPr>
              <a:xfrm>
                <a:off x="7794772" y="4826257"/>
                <a:ext cx="264591" cy="2645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0565783-D195-1729-57D2-AA7555782275}"/>
                  </a:ext>
                </a:extLst>
              </p:cNvPr>
              <p:cNvSpPr/>
              <p:nvPr/>
            </p:nvSpPr>
            <p:spPr>
              <a:xfrm>
                <a:off x="5166604" y="5254856"/>
                <a:ext cx="264591" cy="2645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03673FE5-EC9C-D252-AFC8-E2F3679715E6}"/>
                  </a:ext>
                </a:extLst>
              </p:cNvPr>
              <p:cNvSpPr/>
              <p:nvPr/>
            </p:nvSpPr>
            <p:spPr>
              <a:xfrm>
                <a:off x="4404584" y="4369483"/>
                <a:ext cx="264591" cy="26458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89BFE70-95DE-4274-1260-656AC00EAF6F}"/>
                  </a:ext>
                </a:extLst>
              </p:cNvPr>
              <p:cNvSpPr/>
              <p:nvPr/>
            </p:nvSpPr>
            <p:spPr>
              <a:xfrm>
                <a:off x="4225041" y="3313103"/>
                <a:ext cx="264591" cy="26458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1DDF490-68A3-BB32-84FA-C6B2A715D0AB}"/>
                  </a:ext>
                </a:extLst>
              </p:cNvPr>
              <p:cNvSpPr/>
              <p:nvPr/>
            </p:nvSpPr>
            <p:spPr>
              <a:xfrm>
                <a:off x="4781645" y="2155493"/>
                <a:ext cx="264591" cy="26458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1DAA724-ACD1-1B50-A2C1-655A070F1CBE}"/>
                  </a:ext>
                </a:extLst>
              </p:cNvPr>
              <p:cNvSpPr/>
              <p:nvPr/>
            </p:nvSpPr>
            <p:spPr>
              <a:xfrm>
                <a:off x="6657147" y="5523532"/>
                <a:ext cx="264591" cy="2645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200" b="1" dirty="0"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C045988-0B9C-0EAD-77A8-8893E39CB8CE}"/>
              </a:ext>
            </a:extLst>
          </p:cNvPr>
          <p:cNvSpPr txBox="1"/>
          <p:nvPr/>
        </p:nvSpPr>
        <p:spPr>
          <a:xfrm>
            <a:off x="608150" y="2733704"/>
            <a:ext cx="4565031" cy="14202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u="none" strike="noStrike" baseline="0" dirty="0">
                <a:latin typeface="Arial" panose="020B0604020202020204" pitchFamily="34" charset="0"/>
                <a:ea typeface="+mj-ea"/>
              </a:rPr>
              <a:t>Greater operational visibilit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Arial" panose="020B0604020202020204" pitchFamily="34" charset="0"/>
                <a:ea typeface="+mj-ea"/>
              </a:rPr>
              <a:t>Less</a:t>
            </a:r>
            <a:r>
              <a:rPr lang="zh-CN" altLang="en-US" sz="2000" b="1" dirty="0">
                <a:latin typeface="Arial" panose="020B0604020202020204" pitchFamily="34" charset="0"/>
                <a:ea typeface="+mj-ea"/>
              </a:rPr>
              <a:t> </a:t>
            </a:r>
            <a:r>
              <a:rPr lang="en-US" altLang="zh-CN" sz="2000" b="1" dirty="0">
                <a:latin typeface="Arial" panose="020B0604020202020204" pitchFamily="34" charset="0"/>
                <a:ea typeface="+mj-ea"/>
              </a:rPr>
              <a:t>labor</a:t>
            </a:r>
            <a:r>
              <a:rPr lang="zh-CN" altLang="en-US" sz="2000" b="1" dirty="0">
                <a:latin typeface="Arial" panose="020B0604020202020204" pitchFamily="34" charset="0"/>
                <a:ea typeface="+mj-ea"/>
              </a:rPr>
              <a:t> </a:t>
            </a:r>
            <a:r>
              <a:rPr lang="en-US" altLang="zh-CN" sz="2000" b="1" dirty="0">
                <a:latin typeface="Arial" panose="020B0604020202020204" pitchFamily="34" charset="0"/>
                <a:ea typeface="+mj-ea"/>
              </a:rPr>
              <a:t>dependenc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Arial" panose="020B0604020202020204" pitchFamily="34" charset="0"/>
                <a:ea typeface="+mj-ea"/>
              </a:rPr>
              <a:t>More secure operation</a:t>
            </a:r>
            <a:endParaRPr lang="en-US" sz="2000" b="1" u="none" strike="noStrike" baseline="0" dirty="0">
              <a:latin typeface="Arial" panose="020B0604020202020204" pitchFamily="34" charset="0"/>
              <a:ea typeface="+mj-ea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EA7F18-8B12-0CE7-54D6-3675FC72CF5A}"/>
              </a:ext>
            </a:extLst>
          </p:cNvPr>
          <p:cNvCxnSpPr/>
          <p:nvPr/>
        </p:nvCxnSpPr>
        <p:spPr>
          <a:xfrm>
            <a:off x="523614" y="2983228"/>
            <a:ext cx="0" cy="102887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Title 8">
            <a:extLst>
              <a:ext uri="{FF2B5EF4-FFF2-40B4-BE49-F238E27FC236}">
                <a16:creationId xmlns:a16="http://schemas.microsoft.com/office/drawing/2014/main" id="{60489CC5-7399-8C23-A156-981DAEFCB0BE}"/>
              </a:ext>
            </a:extLst>
          </p:cNvPr>
          <p:cNvSpPr txBox="1">
            <a:spLocks/>
          </p:cNvSpPr>
          <p:nvPr/>
        </p:nvSpPr>
        <p:spPr>
          <a:xfrm>
            <a:off x="421508" y="548612"/>
            <a:ext cx="11201401" cy="419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Value to the custom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86877DB-C421-9D8C-4750-94B599E90345}"/>
              </a:ext>
            </a:extLst>
          </p:cNvPr>
          <p:cNvSpPr txBox="1"/>
          <p:nvPr/>
        </p:nvSpPr>
        <p:spPr>
          <a:xfrm>
            <a:off x="495300" y="984733"/>
            <a:ext cx="56007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rgbClr val="E0E0E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ortation and Grocery </a:t>
            </a:r>
            <a:r>
              <a:rPr lang="en-US" sz="1600" b="1" dirty="0">
                <a:solidFill>
                  <a:srgbClr val="E0E0E0">
                    <a:lumMod val="25000"/>
                  </a:srgbClr>
                </a:solidFill>
                <a:latin typeface="Arial" panose="020B0604020202020204" pitchFamily="34" charset="0"/>
              </a:rPr>
              <a:t>R</a:t>
            </a:r>
            <a:r>
              <a:rPr kumimoji="0" lang="en-US" sz="1600" b="1" u="none" strike="noStrike" kern="1200" cap="none" spc="0" normalizeH="0" baseline="0" noProof="0" dirty="0" err="1">
                <a:ln>
                  <a:noFill/>
                </a:ln>
                <a:solidFill>
                  <a:srgbClr val="E0E0E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ail</a:t>
            </a: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E0E0E0">
                  <a:lumMod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203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2910AE3-868D-4BD4-AD4A-0C6ACA59DF66}"/>
              </a:ext>
            </a:extLst>
          </p:cNvPr>
          <p:cNvSpPr/>
          <p:nvPr/>
        </p:nvSpPr>
        <p:spPr>
          <a:xfrm>
            <a:off x="658813" y="2286000"/>
            <a:ext cx="11533187" cy="38892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E27609F5-8B0C-448A-876B-335B164C2449}"/>
              </a:ext>
            </a:extLst>
          </p:cNvPr>
          <p:cNvSpPr txBox="1">
            <a:spLocks/>
          </p:cNvSpPr>
          <p:nvPr/>
        </p:nvSpPr>
        <p:spPr>
          <a:xfrm>
            <a:off x="973178" y="2979017"/>
            <a:ext cx="6651511" cy="25327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04221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INTRODUCING: THE CT70 MOBILE COMPUTER  </a:t>
            </a:r>
          </a:p>
          <a:p>
            <a:pPr marL="0" marR="0" lvl="0" indent="0" algn="l" defTabSz="3042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3042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-rugged,</a:t>
            </a: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ltra-reliable, 5G connected device for enterprise customers that need a long service life and a predictable O/S upgrade path.  Ready for the future with advanced features such as an AI processor and Wi-Fi 7.</a:t>
            </a:r>
            <a:endParaRPr lang="en-US" sz="20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3042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3042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22DC8A4-6461-4CD5-A3A7-66C876F5A6D0}"/>
              </a:ext>
            </a:extLst>
          </p:cNvPr>
          <p:cNvSpPr/>
          <p:nvPr/>
        </p:nvSpPr>
        <p:spPr>
          <a:xfrm>
            <a:off x="539728" y="1456880"/>
            <a:ext cx="2428870" cy="1107996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-30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T70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DE0C665-BEDE-14EB-D4A3-D7F696BF1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07AAA5-75CC-C59D-6152-A427E9648192}"/>
              </a:ext>
            </a:extLst>
          </p:cNvPr>
          <p:cNvGrpSpPr/>
          <p:nvPr/>
        </p:nvGrpSpPr>
        <p:grpSpPr>
          <a:xfrm>
            <a:off x="10689901" y="2828546"/>
            <a:ext cx="892447" cy="2692032"/>
            <a:chOff x="12252730" y="3385964"/>
            <a:chExt cx="1563187" cy="471529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D6FF008-F21C-4F07-1918-057049F02D93}"/>
                </a:ext>
              </a:extLst>
            </p:cNvPr>
            <p:cNvSpPr txBox="1"/>
            <p:nvPr/>
          </p:nvSpPr>
          <p:spPr>
            <a:xfrm>
              <a:off x="12252730" y="6270161"/>
              <a:ext cx="1563187" cy="377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etail</a:t>
              </a:r>
            </a:p>
          </p:txBody>
        </p:sp>
        <p:sp>
          <p:nvSpPr>
            <p:cNvPr id="57" name="Freeform 41">
              <a:extLst>
                <a:ext uri="{FF2B5EF4-FFF2-40B4-BE49-F238E27FC236}">
                  <a16:creationId xmlns:a16="http://schemas.microsoft.com/office/drawing/2014/main" id="{2BF06BC0-52E9-2507-3439-57463E6E8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41504" y="5655368"/>
              <a:ext cx="585638" cy="535970"/>
            </a:xfrm>
            <a:custGeom>
              <a:avLst/>
              <a:gdLst>
                <a:gd name="T0" fmla="*/ 357 w 357"/>
                <a:gd name="T1" fmla="*/ 27 h 296"/>
                <a:gd name="T2" fmla="*/ 72 w 357"/>
                <a:gd name="T3" fmla="*/ 27 h 296"/>
                <a:gd name="T4" fmla="*/ 66 w 357"/>
                <a:gd name="T5" fmla="*/ 0 h 296"/>
                <a:gd name="T6" fmla="*/ 0 w 357"/>
                <a:gd name="T7" fmla="*/ 0 h 296"/>
                <a:gd name="T8" fmla="*/ 0 w 357"/>
                <a:gd name="T9" fmla="*/ 25 h 296"/>
                <a:gd name="T10" fmla="*/ 46 w 357"/>
                <a:gd name="T11" fmla="*/ 25 h 296"/>
                <a:gd name="T12" fmla="*/ 93 w 357"/>
                <a:gd name="T13" fmla="*/ 247 h 296"/>
                <a:gd name="T14" fmla="*/ 93 w 357"/>
                <a:gd name="T15" fmla="*/ 248 h 296"/>
                <a:gd name="T16" fmla="*/ 119 w 357"/>
                <a:gd name="T17" fmla="*/ 248 h 296"/>
                <a:gd name="T18" fmla="*/ 109 w 357"/>
                <a:gd name="T19" fmla="*/ 269 h 296"/>
                <a:gd name="T20" fmla="*/ 137 w 357"/>
                <a:gd name="T21" fmla="*/ 296 h 296"/>
                <a:gd name="T22" fmla="*/ 164 w 357"/>
                <a:gd name="T23" fmla="*/ 269 h 296"/>
                <a:gd name="T24" fmla="*/ 155 w 357"/>
                <a:gd name="T25" fmla="*/ 248 h 296"/>
                <a:gd name="T26" fmla="*/ 232 w 357"/>
                <a:gd name="T27" fmla="*/ 248 h 296"/>
                <a:gd name="T28" fmla="*/ 222 w 357"/>
                <a:gd name="T29" fmla="*/ 269 h 296"/>
                <a:gd name="T30" fmla="*/ 250 w 357"/>
                <a:gd name="T31" fmla="*/ 296 h 296"/>
                <a:gd name="T32" fmla="*/ 277 w 357"/>
                <a:gd name="T33" fmla="*/ 269 h 296"/>
                <a:gd name="T34" fmla="*/ 268 w 357"/>
                <a:gd name="T35" fmla="*/ 248 h 296"/>
                <a:gd name="T36" fmla="*/ 288 w 357"/>
                <a:gd name="T37" fmla="*/ 248 h 296"/>
                <a:gd name="T38" fmla="*/ 288 w 357"/>
                <a:gd name="T39" fmla="*/ 223 h 296"/>
                <a:gd name="T40" fmla="*/ 114 w 357"/>
                <a:gd name="T41" fmla="*/ 223 h 296"/>
                <a:gd name="T42" fmla="*/ 107 w 357"/>
                <a:gd name="T43" fmla="*/ 194 h 296"/>
                <a:gd name="T44" fmla="*/ 328 w 357"/>
                <a:gd name="T45" fmla="*/ 194 h 296"/>
                <a:gd name="T46" fmla="*/ 357 w 357"/>
                <a:gd name="T47" fmla="*/ 27 h 296"/>
                <a:gd name="T48" fmla="*/ 322 w 357"/>
                <a:gd name="T49" fmla="*/ 84 h 296"/>
                <a:gd name="T50" fmla="*/ 318 w 357"/>
                <a:gd name="T51" fmla="*/ 103 h 296"/>
                <a:gd name="T52" fmla="*/ 91 w 357"/>
                <a:gd name="T53" fmla="*/ 103 h 296"/>
                <a:gd name="T54" fmla="*/ 88 w 357"/>
                <a:gd name="T55" fmla="*/ 84 h 296"/>
                <a:gd name="T56" fmla="*/ 322 w 357"/>
                <a:gd name="T57" fmla="*/ 84 h 296"/>
                <a:gd name="T58" fmla="*/ 316 w 357"/>
                <a:gd name="T59" fmla="*/ 118 h 296"/>
                <a:gd name="T60" fmla="*/ 312 w 357"/>
                <a:gd name="T61" fmla="*/ 137 h 296"/>
                <a:gd name="T62" fmla="*/ 99 w 357"/>
                <a:gd name="T63" fmla="*/ 137 h 296"/>
                <a:gd name="T64" fmla="*/ 95 w 357"/>
                <a:gd name="T65" fmla="*/ 118 h 296"/>
                <a:gd name="T66" fmla="*/ 316 w 357"/>
                <a:gd name="T67" fmla="*/ 118 h 296"/>
                <a:gd name="T68" fmla="*/ 310 w 357"/>
                <a:gd name="T69" fmla="*/ 153 h 296"/>
                <a:gd name="T70" fmla="*/ 307 w 357"/>
                <a:gd name="T71" fmla="*/ 169 h 296"/>
                <a:gd name="T72" fmla="*/ 105 w 357"/>
                <a:gd name="T73" fmla="*/ 169 h 296"/>
                <a:gd name="T74" fmla="*/ 102 w 357"/>
                <a:gd name="T75" fmla="*/ 153 h 296"/>
                <a:gd name="T76" fmla="*/ 310 w 357"/>
                <a:gd name="T77" fmla="*/ 153 h 296"/>
                <a:gd name="T78" fmla="*/ 327 w 357"/>
                <a:gd name="T79" fmla="*/ 52 h 296"/>
                <a:gd name="T80" fmla="*/ 324 w 357"/>
                <a:gd name="T81" fmla="*/ 69 h 296"/>
                <a:gd name="T82" fmla="*/ 84 w 357"/>
                <a:gd name="T83" fmla="*/ 69 h 296"/>
                <a:gd name="T84" fmla="*/ 81 w 357"/>
                <a:gd name="T85" fmla="*/ 52 h 296"/>
                <a:gd name="T86" fmla="*/ 327 w 357"/>
                <a:gd name="T87" fmla="*/ 5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7" h="296">
                  <a:moveTo>
                    <a:pt x="357" y="27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93" y="247"/>
                    <a:pt x="93" y="247"/>
                    <a:pt x="93" y="247"/>
                  </a:cubicBezTo>
                  <a:cubicBezTo>
                    <a:pt x="93" y="248"/>
                    <a:pt x="93" y="248"/>
                    <a:pt x="93" y="248"/>
                  </a:cubicBezTo>
                  <a:cubicBezTo>
                    <a:pt x="119" y="248"/>
                    <a:pt x="119" y="248"/>
                    <a:pt x="119" y="248"/>
                  </a:cubicBezTo>
                  <a:cubicBezTo>
                    <a:pt x="113" y="253"/>
                    <a:pt x="109" y="261"/>
                    <a:pt x="109" y="269"/>
                  </a:cubicBezTo>
                  <a:cubicBezTo>
                    <a:pt x="109" y="284"/>
                    <a:pt x="121" y="296"/>
                    <a:pt x="137" y="296"/>
                  </a:cubicBezTo>
                  <a:cubicBezTo>
                    <a:pt x="152" y="296"/>
                    <a:pt x="164" y="284"/>
                    <a:pt x="164" y="269"/>
                  </a:cubicBezTo>
                  <a:cubicBezTo>
                    <a:pt x="164" y="261"/>
                    <a:pt x="160" y="253"/>
                    <a:pt x="155" y="248"/>
                  </a:cubicBezTo>
                  <a:cubicBezTo>
                    <a:pt x="232" y="248"/>
                    <a:pt x="232" y="248"/>
                    <a:pt x="232" y="248"/>
                  </a:cubicBezTo>
                  <a:cubicBezTo>
                    <a:pt x="226" y="253"/>
                    <a:pt x="222" y="261"/>
                    <a:pt x="222" y="269"/>
                  </a:cubicBezTo>
                  <a:cubicBezTo>
                    <a:pt x="222" y="284"/>
                    <a:pt x="235" y="296"/>
                    <a:pt x="250" y="296"/>
                  </a:cubicBezTo>
                  <a:cubicBezTo>
                    <a:pt x="265" y="296"/>
                    <a:pt x="277" y="284"/>
                    <a:pt x="277" y="269"/>
                  </a:cubicBezTo>
                  <a:cubicBezTo>
                    <a:pt x="277" y="261"/>
                    <a:pt x="274" y="253"/>
                    <a:pt x="268" y="248"/>
                  </a:cubicBezTo>
                  <a:cubicBezTo>
                    <a:pt x="288" y="248"/>
                    <a:pt x="288" y="248"/>
                    <a:pt x="288" y="248"/>
                  </a:cubicBezTo>
                  <a:cubicBezTo>
                    <a:pt x="288" y="223"/>
                    <a:pt x="288" y="223"/>
                    <a:pt x="288" y="223"/>
                  </a:cubicBezTo>
                  <a:cubicBezTo>
                    <a:pt x="114" y="223"/>
                    <a:pt x="114" y="223"/>
                    <a:pt x="114" y="223"/>
                  </a:cubicBezTo>
                  <a:cubicBezTo>
                    <a:pt x="107" y="194"/>
                    <a:pt x="107" y="194"/>
                    <a:pt x="107" y="194"/>
                  </a:cubicBezTo>
                  <a:cubicBezTo>
                    <a:pt x="328" y="194"/>
                    <a:pt x="328" y="194"/>
                    <a:pt x="328" y="194"/>
                  </a:cubicBezTo>
                  <a:lnTo>
                    <a:pt x="357" y="27"/>
                  </a:lnTo>
                  <a:close/>
                  <a:moveTo>
                    <a:pt x="322" y="84"/>
                  </a:moveTo>
                  <a:cubicBezTo>
                    <a:pt x="318" y="103"/>
                    <a:pt x="318" y="103"/>
                    <a:pt x="318" y="103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88" y="84"/>
                    <a:pt x="88" y="84"/>
                    <a:pt x="88" y="84"/>
                  </a:cubicBezTo>
                  <a:lnTo>
                    <a:pt x="322" y="84"/>
                  </a:lnTo>
                  <a:close/>
                  <a:moveTo>
                    <a:pt x="316" y="118"/>
                  </a:moveTo>
                  <a:cubicBezTo>
                    <a:pt x="312" y="137"/>
                    <a:pt x="312" y="137"/>
                    <a:pt x="312" y="137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95" y="118"/>
                    <a:pt x="95" y="118"/>
                    <a:pt x="95" y="118"/>
                  </a:cubicBezTo>
                  <a:lnTo>
                    <a:pt x="316" y="118"/>
                  </a:lnTo>
                  <a:close/>
                  <a:moveTo>
                    <a:pt x="310" y="153"/>
                  </a:moveTo>
                  <a:cubicBezTo>
                    <a:pt x="307" y="169"/>
                    <a:pt x="307" y="169"/>
                    <a:pt x="307" y="169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2" y="153"/>
                    <a:pt x="102" y="153"/>
                    <a:pt x="102" y="153"/>
                  </a:cubicBezTo>
                  <a:lnTo>
                    <a:pt x="310" y="153"/>
                  </a:lnTo>
                  <a:close/>
                  <a:moveTo>
                    <a:pt x="327" y="52"/>
                  </a:moveTo>
                  <a:cubicBezTo>
                    <a:pt x="324" y="69"/>
                    <a:pt x="324" y="69"/>
                    <a:pt x="324" y="69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81" y="52"/>
                    <a:pt x="81" y="52"/>
                    <a:pt x="81" y="52"/>
                  </a:cubicBezTo>
                  <a:lnTo>
                    <a:pt x="327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2B9B64B-E55E-C74B-080D-1CE75D5EB226}"/>
                </a:ext>
              </a:extLst>
            </p:cNvPr>
            <p:cNvSpPr txBox="1"/>
            <p:nvPr/>
          </p:nvSpPr>
          <p:spPr>
            <a:xfrm>
              <a:off x="12452588" y="4188427"/>
              <a:ext cx="1163469" cy="377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ogistics</a:t>
              </a: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1A9D5E41-9C95-6BFD-ED8B-C6B50DA36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19575"/>
            <a:stretch>
              <a:fillRect/>
            </a:stretch>
          </p:blipFill>
          <p:spPr>
            <a:xfrm>
              <a:off x="12608932" y="4530889"/>
              <a:ext cx="811714" cy="806852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635AAC24-78EA-4C44-EF2B-1C3022C758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707915" y="3385964"/>
              <a:ext cx="652816" cy="806851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AE6EA067-70F2-A3BB-C7E9-A4888A815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660119" y="6547160"/>
              <a:ext cx="748408" cy="921547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FD0B6F4-80B4-D688-F297-DED0F6FF5FB5}"/>
                </a:ext>
              </a:extLst>
            </p:cNvPr>
            <p:cNvSpPr txBox="1"/>
            <p:nvPr/>
          </p:nvSpPr>
          <p:spPr>
            <a:xfrm>
              <a:off x="12694507" y="5223530"/>
              <a:ext cx="745671" cy="377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SD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CB8F1EA-B6A7-6E8B-9A19-C7D54BFE76B6}"/>
                </a:ext>
              </a:extLst>
            </p:cNvPr>
            <p:cNvSpPr txBox="1"/>
            <p:nvPr/>
          </p:nvSpPr>
          <p:spPr>
            <a:xfrm>
              <a:off x="12411146" y="7508256"/>
              <a:ext cx="1246354" cy="5930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Field Service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1CCDB0D-C35F-3B52-1505-D7DFAC4CD32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92" t="9826" r="25617" b="10208"/>
          <a:stretch>
            <a:fillRect/>
          </a:stretch>
        </p:blipFill>
        <p:spPr>
          <a:xfrm>
            <a:off x="7368777" y="349135"/>
            <a:ext cx="3771436" cy="6131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87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FD900B-7BD2-D61B-AB8E-5CE42933F1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FD900B-7BD2-D61B-AB8E-5CE42933F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AF24BFD-171E-FD21-CA84-225235A1AF55}"/>
              </a:ext>
            </a:extLst>
          </p:cNvPr>
          <p:cNvSpPr/>
          <p:nvPr/>
        </p:nvSpPr>
        <p:spPr>
          <a:xfrm>
            <a:off x="500583" y="1804273"/>
            <a:ext cx="3006794" cy="43526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126C55-F258-6F14-E956-4D81CEA972AF}"/>
              </a:ext>
            </a:extLst>
          </p:cNvPr>
          <p:cNvSpPr/>
          <p:nvPr/>
        </p:nvSpPr>
        <p:spPr>
          <a:xfrm>
            <a:off x="6674253" y="1812069"/>
            <a:ext cx="3774093" cy="434489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18EBCD-985A-6BD1-2C73-9B560A27E5DD}"/>
              </a:ext>
            </a:extLst>
          </p:cNvPr>
          <p:cNvSpPr/>
          <p:nvPr/>
        </p:nvSpPr>
        <p:spPr>
          <a:xfrm>
            <a:off x="540932" y="2112772"/>
            <a:ext cx="2588798" cy="2781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ts val="1280"/>
              </a:lnSpc>
            </a:pPr>
            <a:r>
              <a:rPr lang="en-US" altLang="en-US">
                <a:solidFill>
                  <a:schemeClr val="bg1"/>
                </a:solidFill>
                <a:latin typeface="+mj-lt"/>
              </a:rPr>
              <a:t>FUTURE-PROOF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19F16-6ADC-4EB8-1406-0CDFB60ABF59}"/>
              </a:ext>
            </a:extLst>
          </p:cNvPr>
          <p:cNvSpPr/>
          <p:nvPr/>
        </p:nvSpPr>
        <p:spPr>
          <a:xfrm>
            <a:off x="1224846" y="2617464"/>
            <a:ext cx="2363074" cy="267765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-Gen Performance </a:t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ge AI capable</a:t>
            </a:r>
          </a:p>
          <a:p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d Android </a:t>
            </a: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15 to 19</a:t>
            </a: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- reliable:</a:t>
            </a: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G, Wi-Fi 7/6E, BT v.6.0 </a:t>
            </a: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E9C9FB-951A-9D2B-391A-BCC408E46AB0}"/>
              </a:ext>
            </a:extLst>
          </p:cNvPr>
          <p:cNvSpPr/>
          <p:nvPr/>
        </p:nvSpPr>
        <p:spPr>
          <a:xfrm>
            <a:off x="3596815" y="1812071"/>
            <a:ext cx="2988000" cy="434489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0" lang="en-US" sz="18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3D1E92-1900-67B8-1F8D-2D21A41B6411}"/>
              </a:ext>
            </a:extLst>
          </p:cNvPr>
          <p:cNvSpPr/>
          <p:nvPr/>
        </p:nvSpPr>
        <p:spPr>
          <a:xfrm>
            <a:off x="3682052" y="2112772"/>
            <a:ext cx="3408017" cy="2781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ts val="1280"/>
              </a:lnSpc>
            </a:pPr>
            <a:r>
              <a:rPr lang="en-US" altLang="en-US">
                <a:solidFill>
                  <a:schemeClr val="bg1"/>
                </a:solidFill>
                <a:latin typeface="+mj-lt"/>
              </a:rPr>
              <a:t>HIGH PERFORMANC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AB6ED70-96BF-E927-66C4-325396921940}"/>
              </a:ext>
            </a:extLst>
          </p:cNvPr>
          <p:cNvSpPr/>
          <p:nvPr/>
        </p:nvSpPr>
        <p:spPr>
          <a:xfrm>
            <a:off x="6780973" y="2111426"/>
            <a:ext cx="2588798" cy="2781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ts val="1280"/>
              </a:lnSpc>
            </a:pPr>
            <a:r>
              <a:rPr lang="en-US" altLang="en-US" b="1" spc="-150" dirty="0">
                <a:solidFill>
                  <a:schemeClr val="bg1"/>
                </a:solidFill>
                <a:latin typeface="Arial Black" panose="020B0604020202020204" pitchFamily="34" charset="0"/>
              </a:rPr>
              <a:t>EASY  TO  US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1BA15-C212-3757-F669-AE8A23BA8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651882"/>
            <a:ext cx="11201401" cy="830150"/>
          </a:xfrm>
        </p:spPr>
        <p:txBody>
          <a:bodyPr vert="horz"/>
          <a:lstStyle/>
          <a:p>
            <a:pPr>
              <a:lnSpc>
                <a:spcPts val="2940"/>
              </a:lnSpc>
            </a:pPr>
            <a:r>
              <a:rPr lang="en-GB" spc="-150" dirty="0"/>
              <a:t>Designed for demanding users who need </a:t>
            </a:r>
            <a:br>
              <a:rPr lang="en-GB" spc="-150" dirty="0"/>
            </a:br>
            <a:r>
              <a:rPr lang="en-GB" spc="-150" dirty="0"/>
              <a:t>a Long-lifecycle &amp; high-performance</a:t>
            </a:r>
            <a:endParaRPr lang="en-RO" b="1" dirty="0">
              <a:latin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53BA97-F2CD-D44D-A279-E29805072179}"/>
              </a:ext>
            </a:extLst>
          </p:cNvPr>
          <p:cNvSpPr/>
          <p:nvPr/>
        </p:nvSpPr>
        <p:spPr>
          <a:xfrm>
            <a:off x="7443256" y="2593720"/>
            <a:ext cx="201851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’’ FHD display </a:t>
            </a: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rain, glove </a:t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tylus support</a:t>
            </a: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-release</a:t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ttery latch design saves time in battery replacement. </a:t>
            </a: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FC tap to pair, </a:t>
            </a:r>
          </a:p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p to pay from the screen (integrated NFC in display)</a:t>
            </a:r>
          </a:p>
        </p:txBody>
      </p:sp>
      <p:pic>
        <p:nvPicPr>
          <p:cNvPr id="55" name="Graphic 54" descr="User network">
            <a:extLst>
              <a:ext uri="{FF2B5EF4-FFF2-40B4-BE49-F238E27FC236}">
                <a16:creationId xmlns:a16="http://schemas.microsoft.com/office/drawing/2014/main" id="{7C9BA2F8-CD87-3506-D741-931AAF7920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25979" y="3842555"/>
            <a:ext cx="570122" cy="570122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DE42E9B9-898B-A97C-65A0-350356C1A841}"/>
              </a:ext>
            </a:extLst>
          </p:cNvPr>
          <p:cNvGrpSpPr/>
          <p:nvPr/>
        </p:nvGrpSpPr>
        <p:grpSpPr>
          <a:xfrm>
            <a:off x="3773994" y="2552739"/>
            <a:ext cx="2787674" cy="3108543"/>
            <a:chOff x="3773994" y="2400339"/>
            <a:chExt cx="2787674" cy="310854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B29AFDD-3A2B-8DD7-D506-A96E5930685B}"/>
                </a:ext>
              </a:extLst>
            </p:cNvPr>
            <p:cNvSpPr/>
            <p:nvPr/>
          </p:nvSpPr>
          <p:spPr>
            <a:xfrm>
              <a:off x="4396372" y="2400339"/>
              <a:ext cx="2165296" cy="3108543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lim design without sacrificing ruggedness: 1.8m/6ft drop to concrete</a:t>
              </a:r>
            </a:p>
            <a:p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reless charging, Qi compliant, 7692mah extended battery 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ue hot swap</a:t>
              </a:r>
            </a:p>
            <a:p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ual speakers delivers 100dB SPL, and 3 noise cancellation MICs</a:t>
              </a:r>
            </a:p>
          </p:txBody>
        </p:sp>
        <p:pic>
          <p:nvPicPr>
            <p:cNvPr id="32" name="Graphic 31" descr="Full battery">
              <a:extLst>
                <a:ext uri="{FF2B5EF4-FFF2-40B4-BE49-F238E27FC236}">
                  <a16:creationId xmlns:a16="http://schemas.microsoft.com/office/drawing/2014/main" id="{25137EFF-CD31-5EC0-A037-479CAA76C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773994" y="3657600"/>
              <a:ext cx="516377" cy="516377"/>
            </a:xfrm>
            <a:prstGeom prst="rect">
              <a:avLst/>
            </a:prstGeom>
          </p:spPr>
        </p:pic>
        <p:pic>
          <p:nvPicPr>
            <p:cNvPr id="33" name="Picture 16" descr="Phone, mobile, strong, test, drop icon">
              <a:extLst>
                <a:ext uri="{FF2B5EF4-FFF2-40B4-BE49-F238E27FC236}">
                  <a16:creationId xmlns:a16="http://schemas.microsoft.com/office/drawing/2014/main" id="{6EA12AF0-E3F6-79F6-0476-6EB5768DA5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3994" y="2441320"/>
              <a:ext cx="588821" cy="588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B7E00557-92B0-D7B2-6A88-C05160E60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783965" y="4671013"/>
              <a:ext cx="447675" cy="49530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B701DED-92D4-6F38-84E2-14FD0D0B48E1}"/>
              </a:ext>
            </a:extLst>
          </p:cNvPr>
          <p:cNvGrpSpPr/>
          <p:nvPr/>
        </p:nvGrpSpPr>
        <p:grpSpPr>
          <a:xfrm>
            <a:off x="658813" y="4602700"/>
            <a:ext cx="495300" cy="307595"/>
            <a:chOff x="4059238" y="4879976"/>
            <a:chExt cx="333375" cy="201612"/>
          </a:xfrm>
          <a:solidFill>
            <a:schemeClr val="bg1"/>
          </a:solidFill>
        </p:grpSpPr>
        <p:sp>
          <p:nvSpPr>
            <p:cNvPr id="18" name="Freeform 154">
              <a:extLst>
                <a:ext uri="{FF2B5EF4-FFF2-40B4-BE49-F238E27FC236}">
                  <a16:creationId xmlns:a16="http://schemas.microsoft.com/office/drawing/2014/main" id="{02478A91-8262-7015-D28D-225E6CFD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4879976"/>
              <a:ext cx="333375" cy="90488"/>
            </a:xfrm>
            <a:custGeom>
              <a:avLst/>
              <a:gdLst>
                <a:gd name="T0" fmla="*/ 0 w 177"/>
                <a:gd name="T1" fmla="*/ 36 h 48"/>
                <a:gd name="T2" fmla="*/ 11 w 177"/>
                <a:gd name="T3" fmla="*/ 48 h 48"/>
                <a:gd name="T4" fmla="*/ 88 w 177"/>
                <a:gd name="T5" fmla="*/ 16 h 48"/>
                <a:gd name="T6" fmla="*/ 166 w 177"/>
                <a:gd name="T7" fmla="*/ 48 h 48"/>
                <a:gd name="T8" fmla="*/ 177 w 177"/>
                <a:gd name="T9" fmla="*/ 36 h 48"/>
                <a:gd name="T10" fmla="*/ 88 w 177"/>
                <a:gd name="T11" fmla="*/ 0 h 48"/>
                <a:gd name="T12" fmla="*/ 0 w 177"/>
                <a:gd name="T13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" h="48">
                  <a:moveTo>
                    <a:pt x="0" y="36"/>
                  </a:moveTo>
                  <a:cubicBezTo>
                    <a:pt x="11" y="48"/>
                    <a:pt x="11" y="48"/>
                    <a:pt x="11" y="48"/>
                  </a:cubicBezTo>
                  <a:cubicBezTo>
                    <a:pt x="32" y="27"/>
                    <a:pt x="59" y="16"/>
                    <a:pt x="88" y="16"/>
                  </a:cubicBezTo>
                  <a:cubicBezTo>
                    <a:pt x="118" y="16"/>
                    <a:pt x="145" y="27"/>
                    <a:pt x="166" y="48"/>
                  </a:cubicBezTo>
                  <a:cubicBezTo>
                    <a:pt x="177" y="36"/>
                    <a:pt x="177" y="36"/>
                    <a:pt x="177" y="36"/>
                  </a:cubicBezTo>
                  <a:cubicBezTo>
                    <a:pt x="153" y="13"/>
                    <a:pt x="122" y="0"/>
                    <a:pt x="88" y="0"/>
                  </a:cubicBezTo>
                  <a:cubicBezTo>
                    <a:pt x="55" y="0"/>
                    <a:pt x="24" y="13"/>
                    <a:pt x="0" y="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155">
              <a:extLst>
                <a:ext uri="{FF2B5EF4-FFF2-40B4-BE49-F238E27FC236}">
                  <a16:creationId xmlns:a16="http://schemas.microsoft.com/office/drawing/2014/main" id="{765AA908-694F-1B07-CE69-D019A2DB7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388" y="4943476"/>
              <a:ext cx="220663" cy="82550"/>
            </a:xfrm>
            <a:custGeom>
              <a:avLst/>
              <a:gdLst>
                <a:gd name="T0" fmla="*/ 0 w 117"/>
                <a:gd name="T1" fmla="*/ 32 h 43"/>
                <a:gd name="T2" fmla="*/ 11 w 117"/>
                <a:gd name="T3" fmla="*/ 43 h 43"/>
                <a:gd name="T4" fmla="*/ 106 w 117"/>
                <a:gd name="T5" fmla="*/ 43 h 43"/>
                <a:gd name="T6" fmla="*/ 117 w 117"/>
                <a:gd name="T7" fmla="*/ 32 h 43"/>
                <a:gd name="T8" fmla="*/ 0 w 117"/>
                <a:gd name="T9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0" y="32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37" y="17"/>
                    <a:pt x="80" y="17"/>
                    <a:pt x="106" y="43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85" y="0"/>
                    <a:pt x="32" y="0"/>
                    <a:pt x="0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156">
              <a:extLst>
                <a:ext uri="{FF2B5EF4-FFF2-40B4-BE49-F238E27FC236}">
                  <a16:creationId xmlns:a16="http://schemas.microsoft.com/office/drawing/2014/main" id="{2C151446-449D-63DD-7826-995A40994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0363" y="5030788"/>
              <a:ext cx="111125" cy="50800"/>
            </a:xfrm>
            <a:custGeom>
              <a:avLst/>
              <a:gdLst>
                <a:gd name="T0" fmla="*/ 0 w 59"/>
                <a:gd name="T1" fmla="*/ 16 h 27"/>
                <a:gd name="T2" fmla="*/ 12 w 59"/>
                <a:gd name="T3" fmla="*/ 27 h 27"/>
                <a:gd name="T4" fmla="*/ 47 w 59"/>
                <a:gd name="T5" fmla="*/ 27 h 27"/>
                <a:gd name="T6" fmla="*/ 59 w 59"/>
                <a:gd name="T7" fmla="*/ 16 h 27"/>
                <a:gd name="T8" fmla="*/ 0 w 59"/>
                <a:gd name="T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7">
                  <a:moveTo>
                    <a:pt x="0" y="16"/>
                  </a:moveTo>
                  <a:cubicBezTo>
                    <a:pt x="12" y="27"/>
                    <a:pt x="12" y="27"/>
                    <a:pt x="12" y="27"/>
                  </a:cubicBezTo>
                  <a:cubicBezTo>
                    <a:pt x="21" y="17"/>
                    <a:pt x="38" y="17"/>
                    <a:pt x="47" y="27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43" y="0"/>
                    <a:pt x="16" y="0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latin typeface="Arial" panose="020B0604020202020204" pitchFamily="34" charset="0"/>
              </a:endParaRPr>
            </a:p>
          </p:txBody>
        </p:sp>
      </p:grpSp>
      <p:pic>
        <p:nvPicPr>
          <p:cNvPr id="21" name="Graphic 20" descr="Gauge">
            <a:extLst>
              <a:ext uri="{FF2B5EF4-FFF2-40B4-BE49-F238E27FC236}">
                <a16:creationId xmlns:a16="http://schemas.microsoft.com/office/drawing/2014/main" id="{544A7A20-035D-1F7C-4350-5F601F63485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6778" y="2518466"/>
            <a:ext cx="589145" cy="589145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F1A9C388-DD61-7E6A-F9EA-8D307F02FD5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08014" y="5119333"/>
            <a:ext cx="295275" cy="495300"/>
          </a:xfrm>
          <a:prstGeom prst="rect">
            <a:avLst/>
          </a:prstGeom>
        </p:spPr>
      </p:pic>
      <p:pic>
        <p:nvPicPr>
          <p:cNvPr id="40" name="Picture 4" descr="Image result for use  icon">
            <a:extLst>
              <a:ext uri="{FF2B5EF4-FFF2-40B4-BE49-F238E27FC236}">
                <a16:creationId xmlns:a16="http://schemas.microsoft.com/office/drawing/2014/main" id="{AEE21CBC-6F13-EAB7-E18D-83358E2BB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03168" y="2631403"/>
            <a:ext cx="366532" cy="5511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2781C36-37F9-2040-68F7-40FCEE5B1B1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432" b="94896" l="9574" r="89970">
                        <a14:foregroundMark x1="32827" y1="79882" x2="56839" y2="81287"/>
                        <a14:foregroundMark x1="61246" y1="76849" x2="41185" y2="75148"/>
                        <a14:foregroundMark x1="60182" y1="83506" x2="41793" y2="82692"/>
                        <a14:foregroundMark x1="64134" y1="92456" x2="37842" y2="89423"/>
                        <a14:foregroundMark x1="76900" y1="91938" x2="75228" y2="81583"/>
                        <a14:foregroundMark x1="68541" y1="94453" x2="61246" y2="94970"/>
                        <a14:foregroundMark x1="64590" y1="8432" x2="70821" y2="8432"/>
                        <a14:foregroundMark x1="43465" y1="15680" x2="40729" y2="15680"/>
                        <a14:foregroundMark x1="50152" y1="15385" x2="47416" y2="1457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7673" y="696181"/>
            <a:ext cx="3122166" cy="6227638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D7A71C7D-D2F9-FAE7-0F34-3D33CF195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6DB8ABE-C15B-5790-1596-0AC7988F3131}"/>
              </a:ext>
            </a:extLst>
          </p:cNvPr>
          <p:cNvPicPr>
            <a:picLocks noChangeAspect="1"/>
          </p:cNvPicPr>
          <p:nvPr/>
        </p:nvPicPr>
        <p:blipFill>
          <a:blip r:embed="rId21">
            <a:lum bright="100000"/>
          </a:blip>
          <a:stretch>
            <a:fillRect/>
          </a:stretch>
        </p:blipFill>
        <p:spPr>
          <a:xfrm>
            <a:off x="756628" y="3433242"/>
            <a:ext cx="426844" cy="547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07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3" grpId="0" animBg="1"/>
      <p:bldP spid="4" grpId="0"/>
      <p:bldP spid="7" grpId="0"/>
      <p:bldP spid="11" grpId="0" animBg="1"/>
      <p:bldP spid="12" grpId="0"/>
      <p:bldP spid="30" grpId="0"/>
      <p:bldP spid="3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29CAE17-4B8E-CFE4-167C-D5CD54F9122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7767"/>
          <a:stretch/>
        </p:blipFill>
        <p:spPr>
          <a:xfrm>
            <a:off x="1572924" y="193373"/>
            <a:ext cx="9143278" cy="563904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81B1A-A561-E094-D456-FC4160BA2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66E354-A1E5-D643-A18C-204373C670D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C9EA6B9-9CC4-B6B6-BBA0-1299CE4C8D18}"/>
              </a:ext>
            </a:extLst>
          </p:cNvPr>
          <p:cNvSpPr/>
          <p:nvPr/>
        </p:nvSpPr>
        <p:spPr>
          <a:xfrm>
            <a:off x="574990" y="5448680"/>
            <a:ext cx="16331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harger attachment slots allow for booted and non-booted devices* using insert adapte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482E10F-C64C-891D-6106-1CBEB9D50037}"/>
              </a:ext>
            </a:extLst>
          </p:cNvPr>
          <p:cNvSpPr/>
          <p:nvPr/>
        </p:nvSpPr>
        <p:spPr>
          <a:xfrm>
            <a:off x="3661666" y="6019794"/>
            <a:ext cx="172698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Dual speakers placed for maximum dB outpu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343C3EC-9769-64EA-1BE0-3F351BE9155B}"/>
              </a:ext>
            </a:extLst>
          </p:cNvPr>
          <p:cNvSpPr/>
          <p:nvPr/>
        </p:nvSpPr>
        <p:spPr>
          <a:xfrm>
            <a:off x="9830243" y="3318527"/>
            <a:ext cx="19484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Pinch style double battery latch minimizes necessary effort in one-handed release.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7362821-5569-EE02-1572-F48B6E4BB6E0}"/>
              </a:ext>
            </a:extLst>
          </p:cNvPr>
          <p:cNvGrpSpPr/>
          <p:nvPr/>
        </p:nvGrpSpPr>
        <p:grpSpPr>
          <a:xfrm rot="10800000">
            <a:off x="6043587" y="3242234"/>
            <a:ext cx="459328" cy="2714520"/>
            <a:chOff x="7568354" y="1204478"/>
            <a:chExt cx="282002" cy="187087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65601AB-D5D3-3408-D206-335C9AC9CEAF}"/>
                </a:ext>
              </a:extLst>
            </p:cNvPr>
            <p:cNvCxnSpPr>
              <a:cxnSpLocks/>
            </p:cNvCxnSpPr>
            <p:nvPr/>
          </p:nvCxnSpPr>
          <p:spPr>
            <a:xfrm>
              <a:off x="7568354" y="3075348"/>
              <a:ext cx="282002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CC11DC8-5E2A-6317-92E1-76AC66210167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7850356" y="1204478"/>
              <a:ext cx="0" cy="187086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5414F3E0-BDEA-5ABF-3B27-4F1FBEC15E0C}"/>
              </a:ext>
            </a:extLst>
          </p:cNvPr>
          <p:cNvSpPr/>
          <p:nvPr/>
        </p:nvSpPr>
        <p:spPr>
          <a:xfrm>
            <a:off x="5939935" y="6019794"/>
            <a:ext cx="3924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Size and placement of all  buttons based on average dynamic hand dimensions for both male and female end users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569D385-5390-BBDD-35E2-C8E27295E49F}"/>
              </a:ext>
            </a:extLst>
          </p:cNvPr>
          <p:cNvCxnSpPr>
            <a:cxnSpLocks/>
          </p:cNvCxnSpPr>
          <p:nvPr/>
        </p:nvCxnSpPr>
        <p:spPr>
          <a:xfrm flipV="1">
            <a:off x="4198922" y="5582588"/>
            <a:ext cx="0" cy="32936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EEAE2F4-0E2D-36A8-DEFE-8D90B9C90B4D}"/>
              </a:ext>
            </a:extLst>
          </p:cNvPr>
          <p:cNvCxnSpPr>
            <a:cxnSpLocks/>
          </p:cNvCxnSpPr>
          <p:nvPr/>
        </p:nvCxnSpPr>
        <p:spPr>
          <a:xfrm>
            <a:off x="2198423" y="2158799"/>
            <a:ext cx="5428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9B8F22-11C2-F1AE-B8DB-C1B1324143A6}"/>
              </a:ext>
            </a:extLst>
          </p:cNvPr>
          <p:cNvGrpSpPr/>
          <p:nvPr/>
        </p:nvGrpSpPr>
        <p:grpSpPr>
          <a:xfrm>
            <a:off x="9374020" y="3164387"/>
            <a:ext cx="490822" cy="324872"/>
            <a:chOff x="1073982" y="5664221"/>
            <a:chExt cx="123447" cy="248899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D98BD52-BF35-5F69-CD1A-C00D132E25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3982" y="5664221"/>
              <a:ext cx="0" cy="24889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079CACA-332F-1C50-4A1C-6C0ED1A390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73982" y="5913120"/>
              <a:ext cx="123447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A5A6DC5-999C-DEDA-1793-494ECBCE8E94}"/>
              </a:ext>
            </a:extLst>
          </p:cNvPr>
          <p:cNvSpPr/>
          <p:nvPr/>
        </p:nvSpPr>
        <p:spPr>
          <a:xfrm>
            <a:off x="616087" y="1989681"/>
            <a:ext cx="17110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T70 is wrapped in a textured TPU material.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81BD482-6FEA-F498-6B7F-95A7A7D48E67}"/>
              </a:ext>
            </a:extLst>
          </p:cNvPr>
          <p:cNvSpPr/>
          <p:nvPr/>
        </p:nvSpPr>
        <p:spPr>
          <a:xfrm>
            <a:off x="4144906" y="1232867"/>
            <a:ext cx="29998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Bezel wraps around the front of the device providing drop protection to the cover glass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94D7AA5-FC74-949E-ADE6-226318E972C2}"/>
              </a:ext>
            </a:extLst>
          </p:cNvPr>
          <p:cNvGrpSpPr/>
          <p:nvPr/>
        </p:nvGrpSpPr>
        <p:grpSpPr>
          <a:xfrm rot="10800000" flipV="1">
            <a:off x="2208095" y="5376706"/>
            <a:ext cx="609878" cy="411901"/>
            <a:chOff x="1073982" y="5664221"/>
            <a:chExt cx="123447" cy="248899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A9ECD40-CD5E-DD76-FA85-F18E1CBDFE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3982" y="5664221"/>
              <a:ext cx="0" cy="24889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723E101-B586-45AD-CAE4-6361336FBA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73982" y="5913120"/>
              <a:ext cx="123447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B2BC439-8754-DBF8-47F7-B971BAED6DA0}"/>
              </a:ext>
            </a:extLst>
          </p:cNvPr>
          <p:cNvGrpSpPr/>
          <p:nvPr/>
        </p:nvGrpSpPr>
        <p:grpSpPr>
          <a:xfrm rot="10800000" flipV="1">
            <a:off x="5086901" y="5582588"/>
            <a:ext cx="126031" cy="411902"/>
            <a:chOff x="1073982" y="5664221"/>
            <a:chExt cx="123447" cy="248899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45DB4237-7348-9AE7-1F8E-F8D1D2D6F1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3982" y="5664221"/>
              <a:ext cx="0" cy="24889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E44B50E3-8B7A-8DB8-FBDF-B54018733F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73982" y="5913120"/>
              <a:ext cx="123447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709CE7E-73DB-32E2-C5BC-4A88158BCC35}"/>
              </a:ext>
            </a:extLst>
          </p:cNvPr>
          <p:cNvCxnSpPr>
            <a:cxnSpLocks/>
          </p:cNvCxnSpPr>
          <p:nvPr/>
        </p:nvCxnSpPr>
        <p:spPr>
          <a:xfrm flipV="1">
            <a:off x="4176000" y="1327996"/>
            <a:ext cx="0" cy="39600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F851927-7429-2728-B863-C05D6AF759A0}"/>
              </a:ext>
            </a:extLst>
          </p:cNvPr>
          <p:cNvGrpSpPr/>
          <p:nvPr/>
        </p:nvGrpSpPr>
        <p:grpSpPr>
          <a:xfrm>
            <a:off x="7892044" y="3164387"/>
            <a:ext cx="1481976" cy="324872"/>
            <a:chOff x="1073982" y="5664221"/>
            <a:chExt cx="123447" cy="248899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6B42964F-1A4E-B7AF-3D8A-A8AEC51CB0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3982" y="5664221"/>
              <a:ext cx="0" cy="24889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4BC285B7-FBEC-9CF9-8A29-2A5F16CAC6F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73982" y="5913120"/>
              <a:ext cx="123447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AE751EF7-1703-6D69-4FF1-E6ED8001CD18}"/>
              </a:ext>
            </a:extLst>
          </p:cNvPr>
          <p:cNvSpPr txBox="1"/>
          <p:nvPr/>
        </p:nvSpPr>
        <p:spPr>
          <a:xfrm>
            <a:off x="673472" y="3595098"/>
            <a:ext cx="13103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Arched back for user comfort.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505A2D0-1200-B438-D798-B327589072AF}"/>
              </a:ext>
            </a:extLst>
          </p:cNvPr>
          <p:cNvCxnSpPr>
            <a:cxnSpLocks/>
          </p:cNvCxnSpPr>
          <p:nvPr/>
        </p:nvCxnSpPr>
        <p:spPr>
          <a:xfrm>
            <a:off x="1766807" y="3773166"/>
            <a:ext cx="7462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C3895F5-A0B2-F956-9D9C-8D76BF17E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253" y="623650"/>
            <a:ext cx="11201401" cy="458972"/>
          </a:xfrm>
        </p:spPr>
        <p:txBody>
          <a:bodyPr/>
          <a:lstStyle/>
          <a:p>
            <a:r>
              <a:rPr lang="en-US" dirty="0"/>
              <a:t>CT70 | industrial desig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3433DA-469C-FD97-91C3-5AE107F8A959}"/>
              </a:ext>
            </a:extLst>
          </p:cNvPr>
          <p:cNvSpPr txBox="1"/>
          <p:nvPr/>
        </p:nvSpPr>
        <p:spPr>
          <a:xfrm>
            <a:off x="412955" y="6523991"/>
            <a:ext cx="70005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* Insert adapter of the universal cup needs to be removed to charge a CT70 with protective boot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228A800E-348A-2114-C130-BC9DCD342362}"/>
              </a:ext>
            </a:extLst>
          </p:cNvPr>
          <p:cNvSpPr txBox="1">
            <a:spLocks/>
          </p:cNvSpPr>
          <p:nvPr/>
        </p:nvSpPr>
        <p:spPr>
          <a:xfrm>
            <a:off x="11199813" y="6480175"/>
            <a:ext cx="496887" cy="238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17868D15-9303-4FED-85E0-134CF6C9A7D6}" type="slidenum">
              <a:rPr lang="en-US" smtClean="0">
                <a:latin typeface="Arial" panose="020B0604020202020204" pitchFamily="34" charset="0"/>
              </a:rPr>
              <a:pPr>
                <a:defRPr/>
              </a:pPr>
              <a:t>6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8377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8804738-D84C-2FD7-4E08-1350CAAF4BBD}"/>
              </a:ext>
            </a:extLst>
          </p:cNvPr>
          <p:cNvGrpSpPr/>
          <p:nvPr/>
        </p:nvGrpSpPr>
        <p:grpSpPr>
          <a:xfrm>
            <a:off x="4257034" y="2313927"/>
            <a:ext cx="3483964" cy="2696423"/>
            <a:chOff x="4205368" y="1550248"/>
            <a:chExt cx="4335555" cy="3355514"/>
          </a:xfrm>
        </p:grpSpPr>
        <p:cxnSp>
          <p:nvCxnSpPr>
            <p:cNvPr id="98" name="Straight Connector 97"/>
            <p:cNvCxnSpPr>
              <a:cxnSpLocks/>
              <a:stCxn id="109" idx="0"/>
              <a:endCxn id="113" idx="0"/>
            </p:cNvCxnSpPr>
            <p:nvPr/>
          </p:nvCxnSpPr>
          <p:spPr>
            <a:xfrm flipV="1">
              <a:off x="4944330" y="2067998"/>
              <a:ext cx="1460532" cy="2032752"/>
            </a:xfrm>
            <a:prstGeom prst="line">
              <a:avLst/>
            </a:prstGeom>
            <a:ln w="28575" cmpd="sng">
              <a:solidFill>
                <a:schemeClr val="tx1"/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cxnSpLocks/>
              <a:stCxn id="113" idx="0"/>
            </p:cNvCxnSpPr>
            <p:nvPr/>
          </p:nvCxnSpPr>
          <p:spPr>
            <a:xfrm>
              <a:off x="6404862" y="2067998"/>
              <a:ext cx="1811151" cy="2250328"/>
            </a:xfrm>
            <a:prstGeom prst="line">
              <a:avLst/>
            </a:prstGeom>
            <a:ln w="28575" cmpd="sng">
              <a:solidFill>
                <a:schemeClr val="tx1"/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cxnSpLocks/>
            </p:cNvCxnSpPr>
            <p:nvPr/>
          </p:nvCxnSpPr>
          <p:spPr>
            <a:xfrm>
              <a:off x="4403188" y="4257512"/>
              <a:ext cx="3229083" cy="0"/>
            </a:xfrm>
            <a:prstGeom prst="line">
              <a:avLst/>
            </a:prstGeom>
            <a:ln w="28575" cmpd="sng">
              <a:solidFill>
                <a:schemeClr val="tx1"/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1" name="Group 100"/>
            <p:cNvGrpSpPr/>
            <p:nvPr/>
          </p:nvGrpSpPr>
          <p:grpSpPr>
            <a:xfrm>
              <a:off x="5685274" y="1550248"/>
              <a:ext cx="1439176" cy="1303020"/>
              <a:chOff x="3974537" y="1541960"/>
              <a:chExt cx="1514922" cy="1371600"/>
            </a:xfrm>
          </p:grpSpPr>
          <p:sp>
            <p:nvSpPr>
              <p:cNvPr id="112" name="Oval 111"/>
              <p:cNvSpPr/>
              <p:nvPr/>
            </p:nvSpPr>
            <p:spPr>
              <a:xfrm>
                <a:off x="4037942" y="1541960"/>
                <a:ext cx="1371600" cy="1371600"/>
              </a:xfrm>
              <a:prstGeom prst="ellipse">
                <a:avLst/>
              </a:prstGeom>
              <a:solidFill>
                <a:schemeClr val="accent4"/>
              </a:solidFill>
              <a:ln w="12700"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3974537" y="2086960"/>
                <a:ext cx="1514922" cy="3628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Ruggedness</a:t>
                </a:r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7124450" y="3587931"/>
              <a:ext cx="1416473" cy="1303020"/>
              <a:chOff x="7231354" y="3446054"/>
              <a:chExt cx="1491024" cy="1371600"/>
            </a:xfrm>
          </p:grpSpPr>
          <p:sp>
            <p:nvSpPr>
              <p:cNvPr id="110" name="Oval 109"/>
              <p:cNvSpPr/>
              <p:nvPr/>
            </p:nvSpPr>
            <p:spPr>
              <a:xfrm>
                <a:off x="7309133" y="3446054"/>
                <a:ext cx="1371601" cy="1371600"/>
              </a:xfrm>
              <a:prstGeom prst="ellipse">
                <a:avLst/>
              </a:prstGeom>
              <a:solidFill>
                <a:schemeClr val="accent4"/>
              </a:solidFill>
              <a:ln w="12700"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7231354" y="3729196"/>
                <a:ext cx="1491024" cy="8466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Global Cellular, </a:t>
                </a:r>
                <a:b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</a:b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Wi-Fi</a:t>
                </a:r>
              </a:p>
            </p:txBody>
          </p:sp>
        </p:grpSp>
        <p:grpSp>
          <p:nvGrpSpPr>
            <p:cNvPr id="103" name="Group 102"/>
            <p:cNvGrpSpPr/>
            <p:nvPr/>
          </p:nvGrpSpPr>
          <p:grpSpPr>
            <a:xfrm>
              <a:off x="4205368" y="3602742"/>
              <a:ext cx="1477924" cy="1303020"/>
              <a:chOff x="1187979" y="3426915"/>
              <a:chExt cx="1555710" cy="1371600"/>
            </a:xfrm>
          </p:grpSpPr>
          <p:sp>
            <p:nvSpPr>
              <p:cNvPr id="108" name="Oval 107"/>
              <p:cNvSpPr/>
              <p:nvPr/>
            </p:nvSpPr>
            <p:spPr>
              <a:xfrm>
                <a:off x="1280034" y="3426915"/>
                <a:ext cx="1371600" cy="1371600"/>
              </a:xfrm>
              <a:prstGeom prst="ellipse">
                <a:avLst/>
              </a:prstGeom>
              <a:solidFill>
                <a:schemeClr val="accent4"/>
              </a:solidFill>
              <a:ln w="12700"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u="none" strike="noStrike" kern="1200" cap="none" spc="0" normalizeH="0" baseline="0" noProof="0" dirty="0">
                  <a:ln>
                    <a:noFill/>
                  </a:ln>
                  <a:solidFill>
                    <a:srgbClr val="E1261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1187979" y="3951133"/>
                <a:ext cx="1555710" cy="3628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Ergonomics</a:t>
                </a:r>
              </a:p>
            </p:txBody>
          </p:sp>
        </p:grpSp>
      </p:grpSp>
      <p:sp>
        <p:nvSpPr>
          <p:cNvPr id="42" name="Slide Number Placeholder 1"/>
          <p:cNvSpPr txBox="1">
            <a:spLocks/>
          </p:cNvSpPr>
          <p:nvPr/>
        </p:nvSpPr>
        <p:spPr bwMode="auto">
          <a:xfrm>
            <a:off x="11645901" y="2"/>
            <a:ext cx="675217" cy="5048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defTabSz="457200" rtl="0" eaLnBrk="1" fontAlgn="auto" hangingPunct="1">
              <a:spcBef>
                <a:spcPts val="0"/>
              </a:spcBef>
              <a:spcAft>
                <a:spcPts val="0"/>
              </a:spcAft>
              <a:defRPr sz="1100" b="1" i="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HelveticaNeue MediumCond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60BE17-CDC2-4962-9F13-DAB84F0F6602}" type="slidenum">
              <a:rPr kumimoji="0" lang="en-US" altLang="en-US" sz="110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S PGothic" panose="020B0600070205080204" pitchFamily="34" charset="-128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1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MS PGothic" panose="020B0600070205080204" pitchFamily="34" charset="-128"/>
            </a:endParaRPr>
          </a:p>
        </p:txBody>
      </p:sp>
      <p:sp>
        <p:nvSpPr>
          <p:cNvPr id="39" name="Title 1"/>
          <p:cNvSpPr txBox="1">
            <a:spLocks/>
          </p:cNvSpPr>
          <p:nvPr/>
        </p:nvSpPr>
        <p:spPr bwMode="auto">
          <a:xfrm>
            <a:off x="316404" y="121014"/>
            <a:ext cx="10523336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26EF25A-554B-27AF-F8EA-772D6A9ED3CB}"/>
              </a:ext>
            </a:extLst>
          </p:cNvPr>
          <p:cNvGrpSpPr/>
          <p:nvPr/>
        </p:nvGrpSpPr>
        <p:grpSpPr>
          <a:xfrm>
            <a:off x="585991" y="2110705"/>
            <a:ext cx="3218959" cy="2899645"/>
            <a:chOff x="585991" y="1909716"/>
            <a:chExt cx="3218959" cy="2899645"/>
          </a:xfrm>
        </p:grpSpPr>
        <p:grpSp>
          <p:nvGrpSpPr>
            <p:cNvPr id="10" name="组合 90">
              <a:extLst>
                <a:ext uri="{FF2B5EF4-FFF2-40B4-BE49-F238E27FC236}">
                  <a16:creationId xmlns:a16="http://schemas.microsoft.com/office/drawing/2014/main" id="{AAAC59C4-F3BB-9FBE-1DF2-5D8C4A7D9CC8}"/>
                </a:ext>
              </a:extLst>
            </p:cNvPr>
            <p:cNvGrpSpPr/>
            <p:nvPr/>
          </p:nvGrpSpPr>
          <p:grpSpPr>
            <a:xfrm>
              <a:off x="585991" y="2087229"/>
              <a:ext cx="1191102" cy="311468"/>
              <a:chOff x="789528" y="1826002"/>
              <a:chExt cx="1191102" cy="311468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039CD3F3-2C1D-F649-743E-19F46B876FBC}"/>
                  </a:ext>
                </a:extLst>
              </p:cNvPr>
              <p:cNvCxnSpPr/>
              <p:nvPr/>
            </p:nvCxnSpPr>
            <p:spPr>
              <a:xfrm>
                <a:off x="804882" y="1826002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60C9F72A-FBE7-0B40-99BE-7BBC487C13A2}"/>
                  </a:ext>
                </a:extLst>
              </p:cNvPr>
              <p:cNvCxnSpPr/>
              <p:nvPr/>
            </p:nvCxnSpPr>
            <p:spPr>
              <a:xfrm>
                <a:off x="1980630" y="1826002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5BB92050-1F31-9D52-B113-B1FDD7D422A0}"/>
                  </a:ext>
                </a:extLst>
              </p:cNvPr>
              <p:cNvCxnSpPr/>
              <p:nvPr/>
            </p:nvCxnSpPr>
            <p:spPr>
              <a:xfrm>
                <a:off x="789528" y="1974872"/>
                <a:ext cx="1187381" cy="0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Box 16">
                <a:extLst>
                  <a:ext uri="{FF2B5EF4-FFF2-40B4-BE49-F238E27FC236}">
                    <a16:creationId xmlns:a16="http://schemas.microsoft.com/office/drawing/2014/main" id="{9F8A73C5-5CD4-A1FC-98E7-C3C8B7E3A7DC}"/>
                  </a:ext>
                </a:extLst>
              </p:cNvPr>
              <p:cNvSpPr txBox="1"/>
              <p:nvPr/>
            </p:nvSpPr>
            <p:spPr>
              <a:xfrm>
                <a:off x="1199831" y="1898710"/>
                <a:ext cx="375735" cy="22691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9 mm</a:t>
                </a:r>
              </a:p>
            </p:txBody>
          </p:sp>
        </p:grpSp>
        <p:grpSp>
          <p:nvGrpSpPr>
            <p:cNvPr id="15" name="组合 95">
              <a:extLst>
                <a:ext uri="{FF2B5EF4-FFF2-40B4-BE49-F238E27FC236}">
                  <a16:creationId xmlns:a16="http://schemas.microsoft.com/office/drawing/2014/main" id="{5250614D-A279-25EE-0951-E7F82276E15A}"/>
                </a:ext>
              </a:extLst>
            </p:cNvPr>
            <p:cNvGrpSpPr/>
            <p:nvPr/>
          </p:nvGrpSpPr>
          <p:grpSpPr>
            <a:xfrm>
              <a:off x="1764317" y="2444877"/>
              <a:ext cx="340304" cy="2355133"/>
              <a:chOff x="1977364" y="2201441"/>
              <a:chExt cx="321230" cy="2517731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53227CED-5804-790D-D951-4B4D892662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424" y="2204692"/>
                <a:ext cx="275426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17DDFF2-3043-8111-24AA-AD741052478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2133098" y="4563438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E20D58FF-1911-AF9B-6AA7-0F69E7C90C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32419" y="2201441"/>
                <a:ext cx="0" cy="2461846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7">
                <a:extLst>
                  <a:ext uri="{FF2B5EF4-FFF2-40B4-BE49-F238E27FC236}">
                    <a16:creationId xmlns:a16="http://schemas.microsoft.com/office/drawing/2014/main" id="{13C482F2-1EEA-ACB0-1321-493EBB3A801B}"/>
                  </a:ext>
                </a:extLst>
              </p:cNvPr>
              <p:cNvSpPr txBox="1"/>
              <p:nvPr/>
            </p:nvSpPr>
            <p:spPr>
              <a:xfrm rot="16200000">
                <a:off x="1870700" y="3392725"/>
                <a:ext cx="628874" cy="22691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 163mm</a:t>
                </a:r>
              </a:p>
            </p:txBody>
          </p:sp>
        </p:grpSp>
        <p:grpSp>
          <p:nvGrpSpPr>
            <p:cNvPr id="20" name="组合 149">
              <a:extLst>
                <a:ext uri="{FF2B5EF4-FFF2-40B4-BE49-F238E27FC236}">
                  <a16:creationId xmlns:a16="http://schemas.microsoft.com/office/drawing/2014/main" id="{ABCEA2AE-EAE2-DBAC-B216-444B8B5523CB}"/>
                </a:ext>
              </a:extLst>
            </p:cNvPr>
            <p:cNvGrpSpPr/>
            <p:nvPr/>
          </p:nvGrpSpPr>
          <p:grpSpPr>
            <a:xfrm>
              <a:off x="2257651" y="1909716"/>
              <a:ext cx="1191102" cy="311468"/>
              <a:chOff x="789528" y="1826002"/>
              <a:chExt cx="1191102" cy="311468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70811EE6-DD70-FA1E-AC1B-F221C2F64C8D}"/>
                  </a:ext>
                </a:extLst>
              </p:cNvPr>
              <p:cNvCxnSpPr/>
              <p:nvPr/>
            </p:nvCxnSpPr>
            <p:spPr>
              <a:xfrm>
                <a:off x="804882" y="1826002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07F7A4D3-B8BC-040D-3908-26E1EBB9F3C4}"/>
                  </a:ext>
                </a:extLst>
              </p:cNvPr>
              <p:cNvCxnSpPr/>
              <p:nvPr/>
            </p:nvCxnSpPr>
            <p:spPr>
              <a:xfrm>
                <a:off x="1980630" y="1826002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844F05D1-A490-0AB1-AE5A-D62C08168C95}"/>
                  </a:ext>
                </a:extLst>
              </p:cNvPr>
              <p:cNvCxnSpPr/>
              <p:nvPr/>
            </p:nvCxnSpPr>
            <p:spPr>
              <a:xfrm>
                <a:off x="789528" y="1974872"/>
                <a:ext cx="1187381" cy="0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16">
                <a:extLst>
                  <a:ext uri="{FF2B5EF4-FFF2-40B4-BE49-F238E27FC236}">
                    <a16:creationId xmlns:a16="http://schemas.microsoft.com/office/drawing/2014/main" id="{D4CE93B4-E94E-D6BD-51A2-F5DE56117B09}"/>
                  </a:ext>
                </a:extLst>
              </p:cNvPr>
              <p:cNvSpPr txBox="1"/>
              <p:nvPr/>
            </p:nvSpPr>
            <p:spPr>
              <a:xfrm>
                <a:off x="1199831" y="1898710"/>
                <a:ext cx="375735" cy="22691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8.6mm</a:t>
                </a:r>
              </a:p>
            </p:txBody>
          </p:sp>
        </p:grpSp>
        <p:grpSp>
          <p:nvGrpSpPr>
            <p:cNvPr id="25" name="组合 154">
              <a:extLst>
                <a:ext uri="{FF2B5EF4-FFF2-40B4-BE49-F238E27FC236}">
                  <a16:creationId xmlns:a16="http://schemas.microsoft.com/office/drawing/2014/main" id="{BF218847-0184-5423-447A-687CBF9987EB}"/>
                </a:ext>
              </a:extLst>
            </p:cNvPr>
            <p:cNvGrpSpPr/>
            <p:nvPr/>
          </p:nvGrpSpPr>
          <p:grpSpPr>
            <a:xfrm>
              <a:off x="3421560" y="2270671"/>
              <a:ext cx="383390" cy="2526712"/>
              <a:chOff x="1905442" y="2112948"/>
              <a:chExt cx="383390" cy="2526712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9902D48-4C8D-86EF-4E69-90302ADD2A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05442" y="2124793"/>
                <a:ext cx="275426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605AAC6-B260-66EC-878B-BA739E336172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2133098" y="4483926"/>
                <a:ext cx="0" cy="311468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AABA787F-A612-A389-038F-DB9A383AFC4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067194" y="2112948"/>
                <a:ext cx="0" cy="2461846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17">
                <a:extLst>
                  <a:ext uri="{FF2B5EF4-FFF2-40B4-BE49-F238E27FC236}">
                    <a16:creationId xmlns:a16="http://schemas.microsoft.com/office/drawing/2014/main" id="{4A30AA62-A272-946F-694C-D03333872B33}"/>
                  </a:ext>
                </a:extLst>
              </p:cNvPr>
              <p:cNvSpPr txBox="1"/>
              <p:nvPr/>
            </p:nvSpPr>
            <p:spPr>
              <a:xfrm rot="16200000">
                <a:off x="1800672" y="3349101"/>
                <a:ext cx="628874" cy="22691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 170mm</a:t>
                </a:r>
              </a:p>
            </p:txBody>
          </p:sp>
        </p:grp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4D81F177-1F12-908B-920B-22FD86213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210817" y="2347514"/>
              <a:ext cx="1205700" cy="2461847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17383F16-AD9F-0AD7-E2B1-8F1F0CEEA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16100" y="2563839"/>
              <a:ext cx="1136061" cy="2236171"/>
            </a:xfrm>
            <a:prstGeom prst="rect">
              <a:avLst/>
            </a:prstGeom>
          </p:spPr>
        </p:pic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B72CB44A-925A-0461-C9A9-7214CCD0C6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3811" y="2870994"/>
              <a:ext cx="784710" cy="1460771"/>
            </a:xfrm>
            <a:prstGeom prst="straightConnector1">
              <a:avLst/>
            </a:prstGeom>
            <a:ln w="9525">
              <a:solidFill>
                <a:schemeClr val="accent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ACA8436-832F-6B74-2803-1C5596B3A146}"/>
                </a:ext>
              </a:extLst>
            </p:cNvPr>
            <p:cNvSpPr txBox="1"/>
            <p:nvPr/>
          </p:nvSpPr>
          <p:spPr>
            <a:xfrm>
              <a:off x="952237" y="3408430"/>
              <a:ext cx="352553" cy="429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5</a:t>
              </a:r>
              <a:r>
                <a:rPr kumimoji="0" lang="zh-CN" altLang="en-US" sz="1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‘’</a:t>
              </a: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AA4A4206-8FBA-A6A5-ACC4-478666AE0C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97077" y="2563839"/>
              <a:ext cx="860352" cy="1987002"/>
            </a:xfrm>
            <a:prstGeom prst="straightConnector1">
              <a:avLst/>
            </a:prstGeom>
            <a:ln w="9525">
              <a:solidFill>
                <a:schemeClr val="accent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2A4057-1808-FAF2-F584-9EB773D6F033}"/>
                </a:ext>
              </a:extLst>
            </p:cNvPr>
            <p:cNvSpPr txBox="1"/>
            <p:nvPr/>
          </p:nvSpPr>
          <p:spPr>
            <a:xfrm>
              <a:off x="2605454" y="3301444"/>
              <a:ext cx="352553" cy="429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6</a:t>
              </a:r>
              <a:r>
                <a:rPr kumimoji="0" lang="zh-CN" altLang="en-US" sz="18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‘’</a:t>
              </a:r>
              <a:endPara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81" name="Table 80">
            <a:extLst>
              <a:ext uri="{FF2B5EF4-FFF2-40B4-BE49-F238E27FC236}">
                <a16:creationId xmlns:a16="http://schemas.microsoft.com/office/drawing/2014/main" id="{57705A1E-1A30-837B-9058-375A145BC4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2590218"/>
              </p:ext>
            </p:extLst>
          </p:nvPr>
        </p:nvGraphicFramePr>
        <p:xfrm>
          <a:off x="498448" y="5263682"/>
          <a:ext cx="4256433" cy="86783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36457">
                  <a:extLst>
                    <a:ext uri="{9D8B030D-6E8A-4147-A177-3AD203B41FA5}">
                      <a16:colId xmlns:a16="http://schemas.microsoft.com/office/drawing/2014/main" val="1867325890"/>
                    </a:ext>
                  </a:extLst>
                </a:gridCol>
                <a:gridCol w="1702190">
                  <a:extLst>
                    <a:ext uri="{9D8B030D-6E8A-4147-A177-3AD203B41FA5}">
                      <a16:colId xmlns:a16="http://schemas.microsoft.com/office/drawing/2014/main" val="2246703657"/>
                    </a:ext>
                  </a:extLst>
                </a:gridCol>
                <a:gridCol w="1617786">
                  <a:extLst>
                    <a:ext uri="{9D8B030D-6E8A-4147-A177-3AD203B41FA5}">
                      <a16:colId xmlns:a16="http://schemas.microsoft.com/office/drawing/2014/main" val="3156736329"/>
                    </a:ext>
                  </a:extLst>
                </a:gridCol>
              </a:tblGrid>
              <a:tr h="27898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45XP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 </a:t>
                      </a:r>
                      <a:r>
                        <a:rPr lang="en-US" sz="1100" err="1">
                          <a:latin typeface="+mj-lt"/>
                        </a:rPr>
                        <a:t>v.s</a:t>
                      </a:r>
                      <a:r>
                        <a:rPr lang="en-US" sz="1100">
                          <a:latin typeface="+mj-lt"/>
                        </a:rPr>
                        <a:t>. 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70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393440"/>
                  </a:ext>
                </a:extLst>
              </a:tr>
              <a:tr h="230382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53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Screen-to-body ratio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69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0810489"/>
                  </a:ext>
                </a:extLst>
              </a:tr>
              <a:tr h="329762">
                <a:tc>
                  <a:txBody>
                    <a:bodyPr/>
                    <a:lstStyle/>
                    <a:p>
                      <a:pPr algn="l"/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19.2m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Thickn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16.7mm (</a:t>
                      </a:r>
                      <a:r>
                        <a:rPr lang="en-US" altLang="zh-CN" sz="1100" dirty="0"/>
                        <a:t>grip area)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8658001"/>
                  </a:ext>
                </a:extLst>
              </a:tr>
            </a:tbl>
          </a:graphicData>
        </a:graphic>
      </p:graphicFrame>
      <p:graphicFrame>
        <p:nvGraphicFramePr>
          <p:cNvPr id="82" name="Table 81">
            <a:extLst>
              <a:ext uri="{FF2B5EF4-FFF2-40B4-BE49-F238E27FC236}">
                <a16:creationId xmlns:a16="http://schemas.microsoft.com/office/drawing/2014/main" id="{9FD0FA2C-22D2-FBCC-5534-B1958E04D3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648389"/>
              </p:ext>
            </p:extLst>
          </p:nvPr>
        </p:nvGraphicFramePr>
        <p:xfrm>
          <a:off x="7239001" y="1550248"/>
          <a:ext cx="4454551" cy="17068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79947">
                  <a:extLst>
                    <a:ext uri="{9D8B030D-6E8A-4147-A177-3AD203B41FA5}">
                      <a16:colId xmlns:a16="http://schemas.microsoft.com/office/drawing/2014/main" val="3156736329"/>
                    </a:ext>
                  </a:extLst>
                </a:gridCol>
                <a:gridCol w="1357746">
                  <a:extLst>
                    <a:ext uri="{9D8B030D-6E8A-4147-A177-3AD203B41FA5}">
                      <a16:colId xmlns:a16="http://schemas.microsoft.com/office/drawing/2014/main" val="80911366"/>
                    </a:ext>
                  </a:extLst>
                </a:gridCol>
                <a:gridCol w="716858">
                  <a:extLst>
                    <a:ext uri="{9D8B030D-6E8A-4147-A177-3AD203B41FA5}">
                      <a16:colId xmlns:a16="http://schemas.microsoft.com/office/drawing/2014/main" val="1731908523"/>
                    </a:ext>
                  </a:extLst>
                </a:gridCol>
              </a:tblGrid>
              <a:tr h="25726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45XP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latin typeface="+mj-lt"/>
                        </a:rPr>
                        <a:t>v.s</a:t>
                      </a:r>
                      <a:r>
                        <a:rPr lang="en-US" sz="1100">
                          <a:latin typeface="+mj-lt"/>
                        </a:rPr>
                        <a:t>.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70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393440"/>
                  </a:ext>
                </a:extLst>
              </a:tr>
              <a:tr h="34858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2.4 m (8ft) to concrete with boot</a:t>
                      </a: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1.8 m (6ft) to concre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Drop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(-20°C to 50°C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Sa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0810489"/>
                  </a:ext>
                </a:extLst>
              </a:tr>
              <a:tr h="34858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00 0.5 m (1.6 ft) tumbles </a:t>
                      </a: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,500 1.0m (3.28 ft) tumbles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Tum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Sa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8658001"/>
                  </a:ext>
                </a:extLst>
              </a:tr>
              <a:tr h="34858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IP68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P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IP Sea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Sa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159657"/>
                  </a:ext>
                </a:extLst>
              </a:tr>
            </a:tbl>
          </a:graphicData>
        </a:graphic>
      </p:graphicFrame>
      <p:sp>
        <p:nvSpPr>
          <p:cNvPr id="88" name="Title 1">
            <a:extLst>
              <a:ext uri="{FF2B5EF4-FFF2-40B4-BE49-F238E27FC236}">
                <a16:creationId xmlns:a16="http://schemas.microsoft.com/office/drawing/2014/main" id="{BB9C3BB2-F7A8-2184-60B9-AB44F9749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72" y="533810"/>
            <a:ext cx="11201401" cy="419100"/>
          </a:xfrm>
        </p:spPr>
        <p:txBody>
          <a:bodyPr/>
          <a:lstStyle/>
          <a:p>
            <a:r>
              <a:rPr lang="en-US" dirty="0"/>
              <a:t>balanced ruggedness and ergonom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0853489-891B-61B3-DD69-EE477F2891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547262"/>
              </p:ext>
            </p:extLst>
          </p:nvPr>
        </p:nvGraphicFramePr>
        <p:xfrm>
          <a:off x="7906043" y="4536773"/>
          <a:ext cx="3787509" cy="1630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64566">
                  <a:extLst>
                    <a:ext uri="{9D8B030D-6E8A-4147-A177-3AD203B41FA5}">
                      <a16:colId xmlns:a16="http://schemas.microsoft.com/office/drawing/2014/main" val="315673632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80911366"/>
                    </a:ext>
                  </a:extLst>
                </a:gridCol>
                <a:gridCol w="1508543">
                  <a:extLst>
                    <a:ext uri="{9D8B030D-6E8A-4147-A177-3AD203B41FA5}">
                      <a16:colId xmlns:a16="http://schemas.microsoft.com/office/drawing/2014/main" val="1731908523"/>
                    </a:ext>
                  </a:extLst>
                </a:gridCol>
              </a:tblGrid>
              <a:tr h="15647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45XP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latin typeface="+mj-lt"/>
                        </a:rPr>
                        <a:t>v.s</a:t>
                      </a:r>
                      <a:r>
                        <a:rPr lang="en-US" sz="1100">
                          <a:latin typeface="+mj-lt"/>
                        </a:rPr>
                        <a:t>.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CT70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393440"/>
                  </a:ext>
                </a:extLst>
              </a:tr>
              <a:tr h="257726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4G-L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100" b="1" i="0" dirty="0">
                          <a:latin typeface="Arial" panose="020B0604020202020204" pitchFamily="34" charset="0"/>
                        </a:rPr>
                        <a:t>Cellular</a:t>
                      </a:r>
                      <a:endParaRPr lang="en-US" altLang="zh-C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5G, CBR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4G-L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0810489"/>
                  </a:ext>
                </a:extLst>
              </a:tr>
              <a:tr h="257726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Wi-Fi 6E, </a:t>
                      </a:r>
                      <a:r>
                        <a:rPr lang="en-US" sz="11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i-Fi 6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Wi-F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Wi-Fi 7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u="none" strike="noStrike" noProof="0" dirty="0">
                          <a:solidFill>
                            <a:schemeClr val="tx1"/>
                          </a:solidFill>
                        </a:rPr>
                        <a:t>Wi-Fi 6E, Wi-Fi 6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8658001"/>
                  </a:ext>
                </a:extLst>
              </a:tr>
              <a:tr h="15647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BT v5.1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Bluetoo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BT v6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159657"/>
                  </a:ext>
                </a:extLst>
              </a:tr>
              <a:tr h="15647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</a:rPr>
                        <a:t>N/A</a:t>
                      </a:r>
                      <a:endParaRPr lang="en-US" sz="1100" b="1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UH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b="1" i="0" dirty="0">
                          <a:latin typeface="Arial" panose="020B0604020202020204" pitchFamily="34" charset="0"/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3552305"/>
                  </a:ext>
                </a:extLst>
              </a:tr>
            </a:tbl>
          </a:graphicData>
        </a:graphic>
      </p:graphicFrame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FE9B0649-7220-D106-D1B0-0CDA7DF2CA01}"/>
              </a:ext>
            </a:extLst>
          </p:cNvPr>
          <p:cNvSpPr txBox="1">
            <a:spLocks/>
          </p:cNvSpPr>
          <p:nvPr/>
        </p:nvSpPr>
        <p:spPr>
          <a:xfrm>
            <a:off x="11199813" y="6480175"/>
            <a:ext cx="496887" cy="238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17868D15-9303-4FED-85E0-134CF6C9A7D6}" type="slidenum">
              <a:rPr lang="en-US" smtClean="0">
                <a:latin typeface="Arial" panose="020B0604020202020204" pitchFamily="34" charset="0"/>
              </a:rPr>
              <a:pPr>
                <a:defRPr/>
              </a:pPr>
              <a:t>7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070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99813" y="6480175"/>
            <a:ext cx="496887" cy="238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17868D15-9303-4FED-85E0-134CF6C9A7D6}" type="slidenum">
              <a:rPr lang="en-US" smtClean="0">
                <a:latin typeface="Arial" panose="020B0604020202020204" pitchFamily="34" charset="0"/>
              </a:rPr>
              <a:pPr>
                <a:defRPr/>
              </a:pPr>
              <a:t>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119A5B-F380-434B-8A60-3CC575750716}"/>
              </a:ext>
            </a:extLst>
          </p:cNvPr>
          <p:cNvSpPr txBox="1"/>
          <p:nvPr/>
        </p:nvSpPr>
        <p:spPr>
          <a:xfrm>
            <a:off x="920607" y="4573071"/>
            <a:ext cx="2750156" cy="6637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2">
              <a:buClr>
                <a:prstClr val="black"/>
              </a:buClr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LOWER LATENCY </a:t>
            </a:r>
          </a:p>
          <a:p>
            <a:pPr marL="0" lvl="2">
              <a:tabLst>
                <a:tab pos="801688" algn="l"/>
              </a:tabLst>
            </a:pPr>
            <a:r>
              <a:rPr lang="en-US" sz="1200" b="1" dirty="0">
                <a:latin typeface="Arial" panose="020B0604020202020204" pitchFamily="34" charset="0"/>
              </a:rPr>
              <a:t>Up to 60% reduction in latency over Wi-Fi 6 in multi-user environment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48BBA5-7223-4CA0-9676-4CF523FC165B}"/>
              </a:ext>
            </a:extLst>
          </p:cNvPr>
          <p:cNvSpPr txBox="1"/>
          <p:nvPr/>
        </p:nvSpPr>
        <p:spPr>
          <a:xfrm>
            <a:off x="510777" y="1862946"/>
            <a:ext cx="3079118" cy="21355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+mj-lt"/>
              </a:rPr>
              <a:t>MULTI-LINK OPERATION</a:t>
            </a:r>
          </a:p>
          <a:p>
            <a:pPr marL="0" lvl="1"/>
            <a:r>
              <a:rPr lang="en-US" sz="1200" b="1" dirty="0">
                <a:latin typeface="Arial" panose="020B0604020202020204" pitchFamily="34" charset="0"/>
              </a:rPr>
              <a:t>Better user experience, lower latency, more reliable connection</a:t>
            </a:r>
          </a:p>
          <a:p>
            <a:pPr marL="0" lvl="1"/>
            <a:endParaRPr lang="en-US" sz="1200" b="1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 marL="0" lvl="1"/>
            <a:r>
              <a:rPr lang="en-US" sz="1200" b="1" dirty="0">
                <a:latin typeface="Arial" panose="020B0604020202020204" pitchFamily="34" charset="0"/>
              </a:rPr>
              <a:t>Wi-Fi 7 allows devices to connect to multiple frequency bands simultaneously, instead of just one (2.4GHz, 5GHz or 6GHz in the case of Wi-Fi 6E).</a:t>
            </a:r>
          </a:p>
          <a:p>
            <a:pPr marL="0" lvl="1"/>
            <a:endParaRPr lang="en-US" sz="1200" b="1" dirty="0">
              <a:latin typeface="Arial" panose="020B0604020202020204" pitchFamily="34" charset="0"/>
            </a:endParaRPr>
          </a:p>
          <a:p>
            <a:pPr marL="0" lvl="1"/>
            <a:r>
              <a:rPr lang="en-US" sz="1200" b="1" dirty="0">
                <a:latin typeface="Arial" panose="020B0604020202020204" pitchFamily="34" charset="0"/>
              </a:rPr>
              <a:t>W</a:t>
            </a:r>
            <a:r>
              <a:rPr lang="en-US" altLang="zh-CN" sz="1200" b="1" dirty="0">
                <a:latin typeface="Arial" panose="020B0604020202020204" pitchFamily="34" charset="0"/>
              </a:rPr>
              <a:t>i-Fi 7 allows </a:t>
            </a:r>
            <a:r>
              <a:rPr lang="en-US" sz="1200" b="1" dirty="0">
                <a:latin typeface="Arial" panose="020B0604020202020204" pitchFamily="34" charset="0"/>
              </a:rPr>
              <a:t>automatic channel switch to reduce operational downtime.</a:t>
            </a:r>
          </a:p>
          <a:p>
            <a:endParaRPr lang="en-US" sz="1200" b="1" dirty="0">
              <a:latin typeface="Arial" panose="020B0604020202020204" pitchFamily="34" charset="0"/>
            </a:endParaRPr>
          </a:p>
          <a:p>
            <a:endParaRPr lang="en-US" sz="1200" b="1" dirty="0">
              <a:latin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6367DA-22CB-4716-A6EF-A48CD2F301CA}"/>
              </a:ext>
            </a:extLst>
          </p:cNvPr>
          <p:cNvSpPr txBox="1"/>
          <p:nvPr/>
        </p:nvSpPr>
        <p:spPr>
          <a:xfrm>
            <a:off x="8369039" y="3514533"/>
            <a:ext cx="2956045" cy="89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+mj-lt"/>
              </a:rPr>
              <a:t>HIGHER THROUGHPUT</a:t>
            </a:r>
          </a:p>
          <a:p>
            <a:pPr marL="0" lvl="2"/>
            <a:r>
              <a:rPr lang="en-US" sz="1200" b="1" dirty="0">
                <a:latin typeface="Arial" panose="020B0604020202020204" pitchFamily="34" charset="0"/>
              </a:rPr>
              <a:t>Wi-Fi 7 supports 4096 QAM that delivers up to 20% higher throughput than Wi-Fi 6 and Wi-Fi 6E (supports 1024 QAM), resulting in faster downloads and upload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9A795E-6818-4249-B059-E5E0716153F2}"/>
              </a:ext>
            </a:extLst>
          </p:cNvPr>
          <p:cNvSpPr/>
          <p:nvPr/>
        </p:nvSpPr>
        <p:spPr>
          <a:xfrm>
            <a:off x="8059072" y="1817763"/>
            <a:ext cx="34119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buClr>
                <a:prstClr val="black"/>
              </a:buClr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320 MHZ CHANNEL BANDWIDTH</a:t>
            </a:r>
          </a:p>
          <a:p>
            <a:pPr marL="55563" lvl="3">
              <a:buClr>
                <a:prstClr val="black"/>
              </a:buClr>
            </a:pPr>
            <a:r>
              <a:rPr lang="en-US" sz="1200" b="1" dirty="0">
                <a:latin typeface="Arial" panose="020B0604020202020204" pitchFamily="34" charset="0"/>
              </a:rPr>
              <a:t>2x as much as data to be transmitted simultaneously as Wi-Fi 7(802.11be) doubles the maximum channel bandwidth from 160 MHz (offered by Wi-Fi 6) to 320 </a:t>
            </a:r>
            <a:r>
              <a:rPr lang="en-US" sz="1200" b="1" dirty="0" err="1">
                <a:latin typeface="Arial" panose="020B0604020202020204" pitchFamily="34" charset="0"/>
              </a:rPr>
              <a:t>MHz.</a:t>
            </a:r>
            <a:endParaRPr lang="en-US" sz="1200" b="1" dirty="0">
              <a:latin typeface="Arial" panose="020B060402020202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8E835B47-4893-0DDC-73FB-BE194BC1F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542185"/>
            <a:ext cx="11201401" cy="419100"/>
          </a:xfrm>
        </p:spPr>
        <p:txBody>
          <a:bodyPr/>
          <a:lstStyle/>
          <a:p>
            <a:r>
              <a:rPr lang="en-US" dirty="0"/>
              <a:t>WI-FI 7’s benefit</a:t>
            </a:r>
          </a:p>
        </p:txBody>
      </p:sp>
      <p:grpSp>
        <p:nvGrpSpPr>
          <p:cNvPr id="33" name="Group 6">
            <a:extLst>
              <a:ext uri="{FF2B5EF4-FFF2-40B4-BE49-F238E27FC236}">
                <a16:creationId xmlns:a16="http://schemas.microsoft.com/office/drawing/2014/main" id="{5BFFDF90-0B7A-016E-97F9-11F35D178AA6}"/>
              </a:ext>
            </a:extLst>
          </p:cNvPr>
          <p:cNvGrpSpPr>
            <a:grpSpLocks/>
          </p:cNvGrpSpPr>
          <p:nvPr/>
        </p:nvGrpSpPr>
        <p:grpSpPr bwMode="auto">
          <a:xfrm>
            <a:off x="3552282" y="1457874"/>
            <a:ext cx="4607977" cy="4533900"/>
            <a:chOff x="5796129" y="542925"/>
            <a:chExt cx="5564228" cy="5497975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DC65BD0-8903-6146-1308-C9E9595F1962}"/>
                </a:ext>
              </a:extLst>
            </p:cNvPr>
            <p:cNvSpPr/>
            <p:nvPr/>
          </p:nvSpPr>
          <p:spPr>
            <a:xfrm>
              <a:off x="5796129" y="542925"/>
              <a:ext cx="5497783" cy="5497975"/>
            </a:xfrm>
            <a:prstGeom prst="ellipse">
              <a:avLst/>
            </a:prstGeom>
            <a:noFill/>
            <a:ln w="38100" cap="rnd">
              <a:solidFill>
                <a:srgbClr val="D0D0D0"/>
              </a:solidFill>
              <a:prstDash val="sysDot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srgbClr val="70707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AFD8DA2-B36A-DBE6-966D-FB6D07741D23}"/>
                </a:ext>
              </a:extLst>
            </p:cNvPr>
            <p:cNvSpPr/>
            <p:nvPr/>
          </p:nvSpPr>
          <p:spPr>
            <a:xfrm>
              <a:off x="5939197" y="4422796"/>
              <a:ext cx="153355" cy="152080"/>
            </a:xfrm>
            <a:prstGeom prst="ellipse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srgbClr val="70707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663CCFA-79FA-614B-5182-32397F856112}"/>
                </a:ext>
              </a:extLst>
            </p:cNvPr>
            <p:cNvSpPr/>
            <p:nvPr/>
          </p:nvSpPr>
          <p:spPr>
            <a:xfrm>
              <a:off x="5801879" y="2579640"/>
              <a:ext cx="151439" cy="152080"/>
            </a:xfrm>
            <a:prstGeom prst="ellipse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srgbClr val="70707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C668223-A1AF-D9EA-6A1B-1697597D0862}"/>
                </a:ext>
              </a:extLst>
            </p:cNvPr>
            <p:cNvSpPr/>
            <p:nvPr/>
          </p:nvSpPr>
          <p:spPr>
            <a:xfrm>
              <a:off x="11207002" y="3502436"/>
              <a:ext cx="153355" cy="152079"/>
            </a:xfrm>
            <a:prstGeom prst="ellipse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srgbClr val="70707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4D386A6-8C62-9915-92D6-4A9054251A17}"/>
                </a:ext>
              </a:extLst>
            </p:cNvPr>
            <p:cNvSpPr/>
            <p:nvPr/>
          </p:nvSpPr>
          <p:spPr>
            <a:xfrm>
              <a:off x="10741833" y="1632510"/>
              <a:ext cx="151438" cy="152080"/>
            </a:xfrm>
            <a:prstGeom prst="ellipse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srgbClr val="707070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02A0C6DB-43B7-0C8C-1FF0-D848925831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31" t="25594" r="14074" b="20071"/>
          <a:stretch>
            <a:fillRect/>
          </a:stretch>
        </p:blipFill>
        <p:spPr>
          <a:xfrm>
            <a:off x="3693718" y="1794698"/>
            <a:ext cx="4354093" cy="4209986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8F3281A9-A3B1-F6B2-2AD1-1DE7100128A2}"/>
              </a:ext>
            </a:extLst>
          </p:cNvPr>
          <p:cNvSpPr/>
          <p:nvPr/>
        </p:nvSpPr>
        <p:spPr bwMode="auto">
          <a:xfrm>
            <a:off x="7550909" y="5124271"/>
            <a:ext cx="127000" cy="125412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707070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814E110-9917-66B8-4967-505CF37E39AB}"/>
              </a:ext>
            </a:extLst>
          </p:cNvPr>
          <p:cNvSpPr txBox="1"/>
          <p:nvPr/>
        </p:nvSpPr>
        <p:spPr>
          <a:xfrm>
            <a:off x="7999137" y="5142673"/>
            <a:ext cx="3535963" cy="89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+mj-lt"/>
              </a:rPr>
              <a:t>BROADER NETWORK COVERAGE</a:t>
            </a:r>
          </a:p>
          <a:p>
            <a:pPr marL="0" lvl="2"/>
            <a:r>
              <a:rPr lang="en-US" sz="1200" b="1" dirty="0">
                <a:latin typeface="Arial" panose="020B0604020202020204" pitchFamily="34" charset="0"/>
              </a:rPr>
              <a:t>Wi-Fi 7’s Multi-AP Operation permits multiple access points to come together and form a single, continuous network. By having multiple access points in sync, the coverage can be broadened.</a:t>
            </a:r>
          </a:p>
        </p:txBody>
      </p:sp>
      <p:pic>
        <p:nvPicPr>
          <p:cNvPr id="2" name="Picture 1" descr="Wi-Fi 7 has a certification program managed by Wi-Fi Alliance">
            <a:extLst>
              <a:ext uri="{FF2B5EF4-FFF2-40B4-BE49-F238E27FC236}">
                <a16:creationId xmlns:a16="http://schemas.microsoft.com/office/drawing/2014/main" id="{71D0579A-B073-9D00-FD38-2860E35A47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436" y="2554175"/>
            <a:ext cx="1465391" cy="75304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5871D35-B522-D638-AB21-D885A90E43E4}"/>
              </a:ext>
            </a:extLst>
          </p:cNvPr>
          <p:cNvSpPr txBox="1"/>
          <p:nvPr/>
        </p:nvSpPr>
        <p:spPr>
          <a:xfrm>
            <a:off x="510777" y="6279110"/>
            <a:ext cx="10020553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00" b="1" dirty="0">
                <a:latin typeface="Arial" panose="020B0604020202020204" pitchFamily="34" charset="0"/>
              </a:rPr>
              <a:t>Information sourced</a:t>
            </a:r>
            <a:r>
              <a:rPr lang="en-US" altLang="zh-CN" sz="900" b="1" dirty="0">
                <a:latin typeface="Arial" panose="020B0604020202020204" pitchFamily="34" charset="0"/>
              </a:rPr>
              <a:t> </a:t>
            </a:r>
            <a:r>
              <a:rPr lang="en-US" sz="900" b="1" dirty="0">
                <a:latin typeface="Arial" panose="020B0604020202020204" pitchFamily="34" charset="0"/>
              </a:rPr>
              <a:t>from </a:t>
            </a:r>
            <a:r>
              <a:rPr lang="en-US" sz="900" b="1" u="sng" dirty="0">
                <a:latin typeface="Arial" panose="020B0604020202020204" pitchFamily="34" charset="0"/>
                <a:hlinkClick r:id="rId9"/>
              </a:rPr>
              <a:t>Wikipedia</a:t>
            </a:r>
            <a:r>
              <a:rPr lang="en-US" sz="900" b="1" dirty="0">
                <a:latin typeface="Arial" panose="020B0604020202020204" pitchFamily="34" charset="0"/>
              </a:rPr>
              <a:t>, </a:t>
            </a:r>
            <a:r>
              <a:rPr lang="en-US" sz="900" b="1" u="sng" dirty="0">
                <a:latin typeface="Arial" panose="020B0604020202020204" pitchFamily="34" charset="0"/>
                <a:hlinkClick r:id="rId10"/>
              </a:rPr>
              <a:t>Intel</a:t>
            </a:r>
            <a:r>
              <a:rPr lang="en-US" sz="900" b="1" dirty="0">
                <a:latin typeface="Arial" panose="020B0604020202020204" pitchFamily="34" charset="0"/>
              </a:rPr>
              <a:t>, </a:t>
            </a:r>
            <a:r>
              <a:rPr lang="en-US" sz="900" b="1" u="sng" dirty="0">
                <a:latin typeface="Arial" panose="020B0604020202020204" pitchFamily="34" charset="0"/>
                <a:hlinkClick r:id="rId11"/>
              </a:rPr>
              <a:t>Qualcomm</a:t>
            </a:r>
            <a:r>
              <a:rPr lang="en-US" sz="900" b="1" dirty="0">
                <a:latin typeface="Arial" panose="020B0604020202020204" pitchFamily="34" charset="0"/>
              </a:rPr>
              <a:t>, </a:t>
            </a:r>
            <a:r>
              <a:rPr lang="en-US" sz="900" b="1" u="sng" dirty="0">
                <a:latin typeface="Arial" panose="020B0604020202020204" pitchFamily="34" charset="0"/>
                <a:hlinkClick r:id="rId12"/>
              </a:rPr>
              <a:t>TP-Link</a:t>
            </a:r>
            <a:r>
              <a:rPr lang="en-US" sz="900" b="1" dirty="0">
                <a:latin typeface="Arial" panose="020B0604020202020204" pitchFamily="34" charset="0"/>
              </a:rPr>
              <a:t>, </a:t>
            </a:r>
            <a:r>
              <a:rPr lang="en-US" sz="900" b="1" u="sng" dirty="0">
                <a:latin typeface="Arial" panose="020B0604020202020204" pitchFamily="34" charset="0"/>
                <a:hlinkClick r:id="rId13"/>
              </a:rPr>
              <a:t>ASUS</a:t>
            </a:r>
            <a:r>
              <a:rPr lang="en-US" sz="900" b="1" dirty="0">
                <a:latin typeface="Arial" panose="020B0604020202020204" pitchFamily="34" charset="0"/>
              </a:rPr>
              <a:t>, </a:t>
            </a:r>
            <a:r>
              <a:rPr lang="en-US" sz="900" b="1" u="sng" dirty="0">
                <a:latin typeface="Arial" panose="020B0604020202020204" pitchFamily="34" charset="0"/>
                <a:hlinkClick r:id="rId14"/>
              </a:rPr>
              <a:t>Netgear</a:t>
            </a:r>
            <a:r>
              <a:rPr lang="en-US" sz="900" b="1" dirty="0">
                <a:latin typeface="Arial" panose="020B0604020202020204" pitchFamily="34" charset="0"/>
              </a:rPr>
              <a:t>, and other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81322C-A3A5-1FC9-6878-42CF944C2EBF}"/>
              </a:ext>
            </a:extLst>
          </p:cNvPr>
          <p:cNvSpPr txBox="1"/>
          <p:nvPr/>
        </p:nvSpPr>
        <p:spPr>
          <a:xfrm>
            <a:off x="384993" y="941143"/>
            <a:ext cx="72929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i-Fi 7 Connectivity: Faster, Longer Range, Lower Latency, Higher Density</a:t>
            </a:r>
          </a:p>
        </p:txBody>
      </p:sp>
    </p:spTree>
    <p:extLst>
      <p:ext uri="{BB962C8B-B14F-4D97-AF65-F5344CB8AC3E}">
        <p14:creationId xmlns:p14="http://schemas.microsoft.com/office/powerpoint/2010/main" val="3385390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B425B3-6392-1CCF-D714-82F88E4FB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FCC4B0-F128-64DF-A2C6-EC46DCF00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1014" y="2737092"/>
            <a:ext cx="4998741" cy="313983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E789AC0-2FA7-30FB-5BA1-3E35C1BDA9F4}"/>
              </a:ext>
            </a:extLst>
          </p:cNvPr>
          <p:cNvSpPr txBox="1"/>
          <p:nvPr/>
        </p:nvSpPr>
        <p:spPr>
          <a:xfrm>
            <a:off x="495299" y="1245122"/>
            <a:ext cx="4972439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+mj-lt"/>
              </a:rPr>
              <a:t>BUSINESS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Channel Congestion occurs when many devices connect to the same access point (AP) and share the same chann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Weak Wi-Fi Signal can result from interference caused by materials such as metal, water, or brick wal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Wi-Fi Security Breaches: Nearly two-thirds of organizations have experienced a Wi-Fi security breach.</a:t>
            </a:r>
            <a:br>
              <a:rPr lang="en-US" sz="1200" b="1" dirty="0">
                <a:latin typeface="Arial" panose="020B0604020202020204" pitchFamily="34" charset="0"/>
              </a:rPr>
            </a:br>
            <a:endParaRPr lang="en-US" sz="1200" b="1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>
              <a:latin typeface="Arial" panose="020B0604020202020204" pitchFamily="34" charset="0"/>
            </a:endParaRPr>
          </a:p>
          <a:p>
            <a:r>
              <a:rPr lang="en-US" sz="1200" b="1" dirty="0">
                <a:solidFill>
                  <a:schemeClr val="accent1"/>
                </a:solidFill>
                <a:latin typeface="+mj-lt"/>
              </a:rPr>
              <a:t>WHY CT70 WITH WI-FI 7? 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Reduced Channel Congestion: Utilizes simultaneous dual-band connections (5GHz + 6GHz) to support 320MHz bandwidth channels, maximizing throughput and delivering ultra-high speeds, low latency, and improved reliability, even in the dense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Seamless Access Point Switching: Enables automatic connection to multiple access points without manual intervention, enhancing operational efficiency and reducing downti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</a:rPr>
              <a:t>Enhanced Security: CT70 supports the WPA3 protocol—the most advanced Wi-Fi security standard—offering stronger authentication, encryption, and intrusion detection to keep your network secur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F76A3DE-1AB3-9FA9-F61A-A4EA09071A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213" y="1409700"/>
            <a:ext cx="4526372" cy="9901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F2AEE7-7D53-7A8F-50A7-085555685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554255"/>
            <a:ext cx="11201401" cy="419100"/>
          </a:xfrm>
        </p:spPr>
        <p:txBody>
          <a:bodyPr/>
          <a:lstStyle/>
          <a:p>
            <a:r>
              <a:rPr lang="en-US" dirty="0"/>
              <a:t>WI-FI 7 in industrial environments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E6BA01A-AC95-897A-6E57-1DC129A04D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5978702"/>
            <a:ext cx="12192000" cy="495299"/>
          </a:xfrm>
          <a:solidFill>
            <a:srgbClr val="DC202E"/>
          </a:solidFill>
        </p:spPr>
        <p:txBody>
          <a:bodyPr vert="horz" lIns="493776" tIns="45720" rIns="493776" bIns="45720" rtlCol="0" anchor="ctr" anchorCtr="0">
            <a:noAutofit/>
          </a:bodyPr>
          <a:lstStyle/>
          <a:p>
            <a:r>
              <a:rPr lang="en-US" sz="1800" dirty="0"/>
              <a:t>CT70 with Wi-Fi 7 is the Game Changer for Industrial Connectivity</a:t>
            </a:r>
          </a:p>
        </p:txBody>
      </p:sp>
    </p:spTree>
    <p:extLst>
      <p:ext uri="{BB962C8B-B14F-4D97-AF65-F5344CB8AC3E}">
        <p14:creationId xmlns:p14="http://schemas.microsoft.com/office/powerpoint/2010/main" val="3780847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cXTQbsMSN4HVuQtMH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pattFill prst="wdUpDiag">
          <a:fgClr>
            <a:schemeClr val="accent6"/>
          </a:fgClr>
          <a:bgClr>
            <a:schemeClr val="bg1"/>
          </a:bgClr>
        </a:patt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ee69cba-3a77-47fb-bf76-0301a2c292da" xsi:nil="true"/>
    <lcf76f155ced4ddcb4097134ff3c332f xmlns="0eda620c-f923-4bfb-88f3-8dab981cf29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49257092C3DA4183A8611C7D9D8266" ma:contentTypeVersion="13" ma:contentTypeDescription="Create a new document." ma:contentTypeScope="" ma:versionID="bd8590068803abc894e7d34a743a0254">
  <xsd:schema xmlns:xsd="http://www.w3.org/2001/XMLSchema" xmlns:xs="http://www.w3.org/2001/XMLSchema" xmlns:p="http://schemas.microsoft.com/office/2006/metadata/properties" xmlns:ns2="0eda620c-f923-4bfb-88f3-8dab981cf29c" xmlns:ns3="fee69cba-3a77-47fb-bf76-0301a2c292da" targetNamespace="http://schemas.microsoft.com/office/2006/metadata/properties" ma:root="true" ma:fieldsID="a5cbae72d9995c8abe492b6ed305e06e" ns2:_="" ns3:_="">
    <xsd:import namespace="0eda620c-f923-4bfb-88f3-8dab981cf29c"/>
    <xsd:import namespace="fee69cba-3a77-47fb-bf76-0301a2c292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a620c-f923-4bfb-88f3-8dab981cf2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69cba-3a77-47fb-bf76-0301a2c292d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8e94dec-f39a-4e86-96be-e05ffb9e5b70}" ma:internalName="TaxCatchAll" ma:showField="CatchAllData" ma:web="fee69cba-3a77-47fb-bf76-0301a2c292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20A495-6E90-4543-B74C-8B15BB4EA0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61EF73-0FA6-4C42-A1E9-19D1D674C68F}">
  <ds:schemaRefs>
    <ds:schemaRef ds:uri="http://purl.org/dc/elements/1.1/"/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0eda620c-f923-4bfb-88f3-8dab981cf29c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ee69cba-3a77-47fb-bf76-0301a2c292da"/>
  </ds:schemaRefs>
</ds:datastoreItem>
</file>

<file path=customXml/itemProps3.xml><?xml version="1.0" encoding="utf-8"?>
<ds:datastoreItem xmlns:ds="http://schemas.openxmlformats.org/officeDocument/2006/customXml" ds:itemID="{2F834A44-E325-492F-97EB-DB35739CC36E}">
  <ds:schemaRefs>
    <ds:schemaRef ds:uri="0eda620c-f923-4bfb-88f3-8dab981cf29c"/>
    <ds:schemaRef ds:uri="fee69cba-3a77-47fb-bf76-0301a2c292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0</TotalTime>
  <Words>2319</Words>
  <Application>Microsoft Macintosh PowerPoint</Application>
  <PresentationFormat>Widescreen</PresentationFormat>
  <Paragraphs>596</Paragraphs>
  <Slides>2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MS PGothic</vt:lpstr>
      <vt:lpstr>Wingdings</vt:lpstr>
      <vt:lpstr>Arial Black</vt:lpstr>
      <vt:lpstr>Arial</vt:lpstr>
      <vt:lpstr>Arial,Sans-Serif</vt:lpstr>
      <vt:lpstr>1_Honeywell 2019</vt:lpstr>
      <vt:lpstr>think-cell Slide</vt:lpstr>
      <vt:lpstr>Honeywell  ct70 Mobile  computers</vt:lpstr>
      <vt:lpstr>PowerPoint Presentation</vt:lpstr>
      <vt:lpstr>PowerPoint Presentation</vt:lpstr>
      <vt:lpstr>PowerPoint Presentation</vt:lpstr>
      <vt:lpstr>Designed for demanding users who need  a Long-lifecycle &amp; high-performance</vt:lpstr>
      <vt:lpstr>CT70 | industrial design</vt:lpstr>
      <vt:lpstr>balanced ruggedness and ergonomics</vt:lpstr>
      <vt:lpstr>WI-FI 7’s benefit</vt:lpstr>
      <vt:lpstr>WI-FI 7 in industrial environments</vt:lpstr>
      <vt:lpstr>3 battery options</vt:lpstr>
      <vt:lpstr>PowerPoint Presentation</vt:lpstr>
      <vt:lpstr>a complete solution set</vt:lpstr>
      <vt:lpstr>Comprehensive Accessory Portfolio</vt:lpstr>
      <vt:lpstr>Mobility Edge™ A Durable, Stable, Secure Foundation</vt:lpstr>
      <vt:lpstr>CT70 On the Mobility Edge Platform Future Compatibl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anneganti, Kartik</dc:creator>
  <cp:keywords/>
  <dc:description/>
  <cp:lastModifiedBy>Costache, Mihaela (Miha)</cp:lastModifiedBy>
  <cp:revision>27</cp:revision>
  <dcterms:created xsi:type="dcterms:W3CDTF">2023-05-16T11:15:13Z</dcterms:created>
  <dcterms:modified xsi:type="dcterms:W3CDTF">2025-11-14T09:52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3-10-02T07:33:45Z</vt:lpwstr>
  </property>
  <property fmtid="{D5CDD505-2E9C-101B-9397-08002B2CF9AE}" pid="4" name="MSIP_Label_d546e5e1-5d42-4630-bacd-c69bfdcbd5e8_Method">
    <vt:lpwstr>Standar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d0fb8dd0-9fff-4709-b79b-5663531dbff2</vt:lpwstr>
  </property>
  <property fmtid="{D5CDD505-2E9C-101B-9397-08002B2CF9AE}" pid="8" name="MSIP_Label_d546e5e1-5d42-4630-bacd-c69bfdcbd5e8_ContentBits">
    <vt:lpwstr>0</vt:lpwstr>
  </property>
  <property fmtid="{D5CDD505-2E9C-101B-9397-08002B2CF9AE}" pid="9" name="ContentTypeId">
    <vt:lpwstr>0x010100BE49257092C3DA4183A8611C7D9D8266</vt:lpwstr>
  </property>
  <property fmtid="{D5CDD505-2E9C-101B-9397-08002B2CF9AE}" pid="10" name="MediaServiceImageTags">
    <vt:lpwstr/>
  </property>
</Properties>
</file>